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1"/>
  </p:sldMasterIdLst>
  <p:notesMasterIdLst>
    <p:notesMasterId r:id="rId28"/>
  </p:notesMasterIdLst>
  <p:handoutMasterIdLst>
    <p:handoutMasterId r:id="rId29"/>
  </p:handoutMasterIdLst>
  <p:sldIdLst>
    <p:sldId id="2462" r:id="rId12"/>
    <p:sldId id="2582" r:id="rId13"/>
    <p:sldId id="2583" r:id="rId14"/>
    <p:sldId id="509" r:id="rId15"/>
    <p:sldId id="2576" r:id="rId16"/>
    <p:sldId id="2496" r:id="rId17"/>
    <p:sldId id="512" r:id="rId18"/>
    <p:sldId id="2432" r:id="rId19"/>
    <p:sldId id="2597" r:id="rId20"/>
    <p:sldId id="2595" r:id="rId21"/>
    <p:sldId id="2591" r:id="rId22"/>
    <p:sldId id="967" r:id="rId23"/>
    <p:sldId id="968" r:id="rId24"/>
    <p:sldId id="2593" r:id="rId25"/>
    <p:sldId id="2589" r:id="rId26"/>
    <p:sldId id="973" r:id="rId27"/>
  </p:sldIdLst>
  <p:sldSz cx="12195175" cy="6858000"/>
  <p:notesSz cx="6797675" cy="9926638"/>
  <p:custDataLst>
    <p:custData r:id="rId3"/>
    <p:custData r:id="rId4"/>
    <p:custData r:id="rId5"/>
    <p:custData r:id="rId6"/>
    <p:custData r:id="rId7"/>
    <p:custData r:id="rId8"/>
    <p:custData r:id="rId9"/>
    <p:custData r:id="rId10"/>
    <p:tags r:id="rId30"/>
  </p:custDataLst>
  <p:defaultTextStyle>
    <a:defPPr>
      <a:defRPr lang="de-DE"/>
    </a:defPPr>
    <a:lvl1pPr algn="ctr" rtl="0" fontAlgn="base">
      <a:spcBef>
        <a:spcPct val="50000"/>
      </a:spcBef>
      <a:spcAft>
        <a:spcPct val="0"/>
      </a:spcAft>
      <a:defRPr kern="1400">
        <a:solidFill>
          <a:schemeClr val="bg2"/>
        </a:solidFill>
        <a:latin typeface="Arial" pitchFamily="34" charset="0"/>
        <a:ea typeface="ＭＳ Ｐゴシック" charset="-128"/>
        <a:cs typeface="+mn-cs"/>
      </a:defRPr>
    </a:lvl1pPr>
    <a:lvl2pPr marL="457200" algn="ctr" rtl="0" fontAlgn="base">
      <a:spcBef>
        <a:spcPct val="50000"/>
      </a:spcBef>
      <a:spcAft>
        <a:spcPct val="0"/>
      </a:spcAft>
      <a:defRPr kern="1400">
        <a:solidFill>
          <a:schemeClr val="bg2"/>
        </a:solidFill>
        <a:latin typeface="Arial" pitchFamily="34" charset="0"/>
        <a:ea typeface="ＭＳ Ｐゴシック" charset="-128"/>
        <a:cs typeface="+mn-cs"/>
      </a:defRPr>
    </a:lvl2pPr>
    <a:lvl3pPr marL="914400" algn="ctr" rtl="0" fontAlgn="base">
      <a:spcBef>
        <a:spcPct val="50000"/>
      </a:spcBef>
      <a:spcAft>
        <a:spcPct val="0"/>
      </a:spcAft>
      <a:defRPr kern="1400">
        <a:solidFill>
          <a:schemeClr val="bg2"/>
        </a:solidFill>
        <a:latin typeface="Arial" pitchFamily="34" charset="0"/>
        <a:ea typeface="ＭＳ Ｐゴシック" charset="-128"/>
        <a:cs typeface="+mn-cs"/>
      </a:defRPr>
    </a:lvl3pPr>
    <a:lvl4pPr marL="1371600" algn="ctr" rtl="0" fontAlgn="base">
      <a:spcBef>
        <a:spcPct val="50000"/>
      </a:spcBef>
      <a:spcAft>
        <a:spcPct val="0"/>
      </a:spcAft>
      <a:defRPr kern="1400">
        <a:solidFill>
          <a:schemeClr val="bg2"/>
        </a:solidFill>
        <a:latin typeface="Arial" pitchFamily="34" charset="0"/>
        <a:ea typeface="ＭＳ Ｐゴシック" charset="-128"/>
        <a:cs typeface="+mn-cs"/>
      </a:defRPr>
    </a:lvl4pPr>
    <a:lvl5pPr marL="1828800" algn="ctr" rtl="0" fontAlgn="base">
      <a:spcBef>
        <a:spcPct val="50000"/>
      </a:spcBef>
      <a:spcAft>
        <a:spcPct val="0"/>
      </a:spcAft>
      <a:defRPr kern="1400">
        <a:solidFill>
          <a:schemeClr val="bg2"/>
        </a:solidFill>
        <a:latin typeface="Arial" pitchFamily="34" charset="0"/>
        <a:ea typeface="ＭＳ Ｐゴシック" charset="-128"/>
        <a:cs typeface="+mn-cs"/>
      </a:defRPr>
    </a:lvl5pPr>
    <a:lvl6pPr marL="2286000" algn="ctr" defTabSz="914400" rtl="0" eaLnBrk="1" latinLnBrk="0" hangingPunct="1">
      <a:defRPr kern="1400">
        <a:solidFill>
          <a:schemeClr val="bg2"/>
        </a:solidFill>
        <a:latin typeface="Arial" pitchFamily="34" charset="0"/>
        <a:ea typeface="ＭＳ Ｐゴシック" charset="-128"/>
        <a:cs typeface="+mn-cs"/>
      </a:defRPr>
    </a:lvl6pPr>
    <a:lvl7pPr marL="2743200" algn="ctr" defTabSz="914400" rtl="0" eaLnBrk="1" latinLnBrk="0" hangingPunct="1">
      <a:defRPr kern="1400">
        <a:solidFill>
          <a:schemeClr val="bg2"/>
        </a:solidFill>
        <a:latin typeface="Arial" pitchFamily="34" charset="0"/>
        <a:ea typeface="ＭＳ Ｐゴシック" charset="-128"/>
        <a:cs typeface="+mn-cs"/>
      </a:defRPr>
    </a:lvl7pPr>
    <a:lvl8pPr marL="3200400" algn="ctr" defTabSz="914400" rtl="0" eaLnBrk="1" latinLnBrk="0" hangingPunct="1">
      <a:defRPr kern="1400">
        <a:solidFill>
          <a:schemeClr val="bg2"/>
        </a:solidFill>
        <a:latin typeface="Arial" pitchFamily="34" charset="0"/>
        <a:ea typeface="ＭＳ Ｐゴシック" charset="-128"/>
        <a:cs typeface="+mn-cs"/>
      </a:defRPr>
    </a:lvl8pPr>
    <a:lvl9pPr marL="3657600" algn="ctr" defTabSz="914400" rtl="0" eaLnBrk="1" latinLnBrk="0" hangingPunct="1">
      <a:defRPr kern="14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4065" userDrawn="1">
          <p15:clr>
            <a:srgbClr val="A4A3A4"/>
          </p15:clr>
        </p15:guide>
        <p15:guide id="10" pos="1097"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üller, Kurt (SI BP S&amp;C CS&amp;TR TR TD)" initials="MK(BSCTT" lastIdx="4" clrIdx="0">
    <p:extLst>
      <p:ext uri="{19B8F6BF-5375-455C-9EA6-DF929625EA0E}">
        <p15:presenceInfo xmlns:p15="http://schemas.microsoft.com/office/powerpoint/2012/main" userId="S::kurtmueller@siemens.com::e7e82c7e-80c6-42a5-ab71-24588885b7f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EEF8"/>
    <a:srgbClr val="0080B6"/>
    <a:srgbClr val="CED8E0"/>
    <a:srgbClr val="E3EDCD"/>
    <a:srgbClr val="496173"/>
    <a:srgbClr val="4A6274"/>
    <a:srgbClr val="0000CA"/>
    <a:srgbClr val="005283"/>
    <a:srgbClr val="F6FDB1"/>
    <a:srgbClr val="CD01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700264-7274-4DC9-BB6D-55AE9BA47D9A}" v="2232" dt="2021-11-25T10:52:22.6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5620"/>
    <p:restoredTop sz="94848" autoAdjust="0"/>
  </p:normalViewPr>
  <p:slideViewPr>
    <p:cSldViewPr snapToGrid="0">
      <p:cViewPr varScale="1">
        <p:scale>
          <a:sx n="79" d="100"/>
          <a:sy n="79" d="100"/>
        </p:scale>
        <p:origin x="360" y="72"/>
      </p:cViewPr>
      <p:guideLst>
        <p:guide orient="horz" pos="4065"/>
        <p:guide pos="1097"/>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notesMaster" Target="notesMasters/notesMaster1.xml"/><Relationship Id="rId36" Type="http://schemas.microsoft.com/office/2016/11/relationships/changesInfo" Target="changesInfos/changesInfo1.xml"/><Relationship Id="rId10" Type="http://schemas.openxmlformats.org/officeDocument/2006/relationships/customXml" Target="../customXml/item10.xml"/><Relationship Id="rId19" Type="http://schemas.openxmlformats.org/officeDocument/2006/relationships/slide" Target="slides/slide8.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tags" Target="tags/tag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o, Tianyun (SI BP AUT EA PROD)" userId="25b3c3cc-5a46-4d03-a516-a1293833cff3" providerId="ADAL" clId="{3ECEA80B-2FA0-4A29-884E-4B4B267A46C6}"/>
    <pc:docChg chg="modSld">
      <pc:chgData name="Gao, Tianyun (SI BP AUT EA PROD)" userId="25b3c3cc-5a46-4d03-a516-a1293833cff3" providerId="ADAL" clId="{3ECEA80B-2FA0-4A29-884E-4B4B267A46C6}" dt="2021-11-17T13:23:23.333" v="0" actId="1076"/>
      <pc:docMkLst>
        <pc:docMk/>
      </pc:docMkLst>
      <pc:sldChg chg="modSp">
        <pc:chgData name="Gao, Tianyun (SI BP AUT EA PROD)" userId="25b3c3cc-5a46-4d03-a516-a1293833cff3" providerId="ADAL" clId="{3ECEA80B-2FA0-4A29-884E-4B4B267A46C6}" dt="2021-11-17T13:23:23.333" v="0" actId="1076"/>
        <pc:sldMkLst>
          <pc:docMk/>
          <pc:sldMk cId="3220879553" sldId="509"/>
        </pc:sldMkLst>
        <pc:picChg chg="mod">
          <ac:chgData name="Gao, Tianyun (SI BP AUT EA PROD)" userId="25b3c3cc-5a46-4d03-a516-a1293833cff3" providerId="ADAL" clId="{3ECEA80B-2FA0-4A29-884E-4B4B267A46C6}" dt="2021-11-17T13:23:23.333" v="0" actId="1076"/>
          <ac:picMkLst>
            <pc:docMk/>
            <pc:sldMk cId="3220879553" sldId="509"/>
            <ac:picMk id="9223" creationId="{291300C2-A3BF-46DD-AA4C-B4024AB60D28}"/>
          </ac:picMkLst>
        </pc:picChg>
      </pc:sldChg>
    </pc:docChg>
  </pc:docChgLst>
  <pc:docChgLst>
    <pc:chgData name="Gao, Tianyun (SI BP AUT EA PROD)" userId="25b3c3cc-5a46-4d03-a516-a1293833cff3" providerId="ADAL" clId="{52F1EEC8-C137-47CF-8DA9-1E346ECB6117}"/>
    <pc:docChg chg="custSel addSld modSld">
      <pc:chgData name="Gao, Tianyun (SI BP AUT EA PROD)" userId="25b3c3cc-5a46-4d03-a516-a1293833cff3" providerId="ADAL" clId="{52F1EEC8-C137-47CF-8DA9-1E346ECB6117}" dt="2021-07-22T15:11:33.707" v="3022" actId="478"/>
      <pc:docMkLst>
        <pc:docMk/>
      </pc:docMkLst>
      <pc:sldChg chg="mod modShow">
        <pc:chgData name="Gao, Tianyun (SI BP AUT EA PROD)" userId="25b3c3cc-5a46-4d03-a516-a1293833cff3" providerId="ADAL" clId="{52F1EEC8-C137-47CF-8DA9-1E346ECB6117}" dt="2021-07-22T13:45:02.213" v="1600" actId="729"/>
        <pc:sldMkLst>
          <pc:docMk/>
          <pc:sldMk cId="1582216341" sldId="2580"/>
        </pc:sldMkLst>
      </pc:sldChg>
      <pc:sldChg chg="modSp mod">
        <pc:chgData name="Gao, Tianyun (SI BP AUT EA PROD)" userId="25b3c3cc-5a46-4d03-a516-a1293833cff3" providerId="ADAL" clId="{52F1EEC8-C137-47CF-8DA9-1E346ECB6117}" dt="2021-07-22T13:43:59.716" v="1562" actId="20577"/>
        <pc:sldMkLst>
          <pc:docMk/>
          <pc:sldMk cId="2389844200" sldId="2582"/>
        </pc:sldMkLst>
        <pc:spChg chg="mod">
          <ac:chgData name="Gao, Tianyun (SI BP AUT EA PROD)" userId="25b3c3cc-5a46-4d03-a516-a1293833cff3" providerId="ADAL" clId="{52F1EEC8-C137-47CF-8DA9-1E346ECB6117}" dt="2021-07-22T13:43:59.716" v="1562" actId="20577"/>
          <ac:spMkLst>
            <pc:docMk/>
            <pc:sldMk cId="2389844200" sldId="2582"/>
            <ac:spMk id="7" creationId="{F1C72932-A1AF-414C-AA2E-197BBE995B80}"/>
          </ac:spMkLst>
        </pc:spChg>
        <pc:spChg chg="mod">
          <ac:chgData name="Gao, Tianyun (SI BP AUT EA PROD)" userId="25b3c3cc-5a46-4d03-a516-a1293833cff3" providerId="ADAL" clId="{52F1EEC8-C137-47CF-8DA9-1E346ECB6117}" dt="2021-07-22T13:09:39.908" v="13" actId="20577"/>
          <ac:spMkLst>
            <pc:docMk/>
            <pc:sldMk cId="2389844200" sldId="2582"/>
            <ac:spMk id="96" creationId="{F58902F7-74F5-40D2-95E0-489AE3763F2D}"/>
          </ac:spMkLst>
        </pc:spChg>
      </pc:sldChg>
      <pc:sldChg chg="addSp modSp mod">
        <pc:chgData name="Gao, Tianyun (SI BP AUT EA PROD)" userId="25b3c3cc-5a46-4d03-a516-a1293833cff3" providerId="ADAL" clId="{52F1EEC8-C137-47CF-8DA9-1E346ECB6117}" dt="2021-07-22T14:30:30.652" v="2866" actId="20577"/>
        <pc:sldMkLst>
          <pc:docMk/>
          <pc:sldMk cId="1402478112" sldId="2583"/>
        </pc:sldMkLst>
        <pc:spChg chg="add mod">
          <ac:chgData name="Gao, Tianyun (SI BP AUT EA PROD)" userId="25b3c3cc-5a46-4d03-a516-a1293833cff3" providerId="ADAL" clId="{52F1EEC8-C137-47CF-8DA9-1E346ECB6117}" dt="2021-07-22T14:30:30.652" v="2866" actId="20577"/>
          <ac:spMkLst>
            <pc:docMk/>
            <pc:sldMk cId="1402478112" sldId="2583"/>
            <ac:spMk id="7" creationId="{ACAB2C52-5885-4E21-B99C-8FB0774DE9B6}"/>
          </ac:spMkLst>
        </pc:spChg>
        <pc:spChg chg="mod">
          <ac:chgData name="Gao, Tianyun (SI BP AUT EA PROD)" userId="25b3c3cc-5a46-4d03-a516-a1293833cff3" providerId="ADAL" clId="{52F1EEC8-C137-47CF-8DA9-1E346ECB6117}" dt="2021-07-22T13:44:53.133" v="1599" actId="20577"/>
          <ac:spMkLst>
            <pc:docMk/>
            <pc:sldMk cId="1402478112" sldId="2583"/>
            <ac:spMk id="96" creationId="{F58902F7-74F5-40D2-95E0-489AE3763F2D}"/>
          </ac:spMkLst>
        </pc:spChg>
      </pc:sldChg>
      <pc:sldChg chg="delSp modSp mod">
        <pc:chgData name="Gao, Tianyun (SI BP AUT EA PROD)" userId="25b3c3cc-5a46-4d03-a516-a1293833cff3" providerId="ADAL" clId="{52F1EEC8-C137-47CF-8DA9-1E346ECB6117}" dt="2021-07-22T15:11:33.707" v="3022" actId="478"/>
        <pc:sldMkLst>
          <pc:docMk/>
          <pc:sldMk cId="342781692" sldId="2586"/>
        </pc:sldMkLst>
        <pc:spChg chg="mod">
          <ac:chgData name="Gao, Tianyun (SI BP AUT EA PROD)" userId="25b3c3cc-5a46-4d03-a516-a1293833cff3" providerId="ADAL" clId="{52F1EEC8-C137-47CF-8DA9-1E346ECB6117}" dt="2021-07-22T14:46:59.770" v="2994" actId="20577"/>
          <ac:spMkLst>
            <pc:docMk/>
            <pc:sldMk cId="342781692" sldId="2586"/>
            <ac:spMk id="47" creationId="{280AB5EB-1010-4300-AABD-DD8BF9A2B905}"/>
          </ac:spMkLst>
        </pc:spChg>
        <pc:spChg chg="del">
          <ac:chgData name="Gao, Tianyun (SI BP AUT EA PROD)" userId="25b3c3cc-5a46-4d03-a516-a1293833cff3" providerId="ADAL" clId="{52F1EEC8-C137-47CF-8DA9-1E346ECB6117}" dt="2021-07-22T15:11:31.408" v="3021" actId="478"/>
          <ac:spMkLst>
            <pc:docMk/>
            <pc:sldMk cId="342781692" sldId="2586"/>
            <ac:spMk id="149" creationId="{4E9F881F-4488-4529-88EA-4B35F17B6BCC}"/>
          </ac:spMkLst>
        </pc:spChg>
        <pc:spChg chg="del">
          <ac:chgData name="Gao, Tianyun (SI BP AUT EA PROD)" userId="25b3c3cc-5a46-4d03-a516-a1293833cff3" providerId="ADAL" clId="{52F1EEC8-C137-47CF-8DA9-1E346ECB6117}" dt="2021-07-22T15:11:33.707" v="3022" actId="478"/>
          <ac:spMkLst>
            <pc:docMk/>
            <pc:sldMk cId="342781692" sldId="2586"/>
            <ac:spMk id="150" creationId="{DC72A21B-244D-48B0-A58D-170FE64EC5BB}"/>
          </ac:spMkLst>
        </pc:spChg>
      </pc:sldChg>
      <pc:sldChg chg="addSp delSp modSp add mod">
        <pc:chgData name="Gao, Tianyun (SI BP AUT EA PROD)" userId="25b3c3cc-5a46-4d03-a516-a1293833cff3" providerId="ADAL" clId="{52F1EEC8-C137-47CF-8DA9-1E346ECB6117}" dt="2021-07-22T14:46:31.643" v="2965" actId="1038"/>
        <pc:sldMkLst>
          <pc:docMk/>
          <pc:sldMk cId="2399341281" sldId="2587"/>
        </pc:sldMkLst>
        <pc:spChg chg="mod">
          <ac:chgData name="Gao, Tianyun (SI BP AUT EA PROD)" userId="25b3c3cc-5a46-4d03-a516-a1293833cff3" providerId="ADAL" clId="{52F1EEC8-C137-47CF-8DA9-1E346ECB6117}" dt="2021-07-22T14:40:13.126" v="2922" actId="20577"/>
          <ac:spMkLst>
            <pc:docMk/>
            <pc:sldMk cId="2399341281" sldId="2587"/>
            <ac:spMk id="23" creationId="{A9D7DEF1-983A-4481-8ADB-8E5C8BE63BDF}"/>
          </ac:spMkLst>
        </pc:spChg>
        <pc:spChg chg="mod">
          <ac:chgData name="Gao, Tianyun (SI BP AUT EA PROD)" userId="25b3c3cc-5a46-4d03-a516-a1293833cff3" providerId="ADAL" clId="{52F1EEC8-C137-47CF-8DA9-1E346ECB6117}" dt="2021-07-22T14:46:31.643" v="2965" actId="1038"/>
          <ac:spMkLst>
            <pc:docMk/>
            <pc:sldMk cId="2399341281" sldId="2587"/>
            <ac:spMk id="26" creationId="{A63B4171-69BB-4CCE-B3D2-4150067D1AAD}"/>
          </ac:spMkLst>
        </pc:spChg>
        <pc:spChg chg="del">
          <ac:chgData name="Gao, Tianyun (SI BP AUT EA PROD)" userId="25b3c3cc-5a46-4d03-a516-a1293833cff3" providerId="ADAL" clId="{52F1EEC8-C137-47CF-8DA9-1E346ECB6117}" dt="2021-07-22T14:40:18.312" v="2923" actId="478"/>
          <ac:spMkLst>
            <pc:docMk/>
            <pc:sldMk cId="2399341281" sldId="2587"/>
            <ac:spMk id="27" creationId="{BD2F4067-9B3F-4C89-BFEA-B992CED91F00}"/>
          </ac:spMkLst>
        </pc:spChg>
        <pc:spChg chg="del">
          <ac:chgData name="Gao, Tianyun (SI BP AUT EA PROD)" userId="25b3c3cc-5a46-4d03-a516-a1293833cff3" providerId="ADAL" clId="{52F1EEC8-C137-47CF-8DA9-1E346ECB6117}" dt="2021-07-22T14:40:18.312" v="2923" actId="478"/>
          <ac:spMkLst>
            <pc:docMk/>
            <pc:sldMk cId="2399341281" sldId="2587"/>
            <ac:spMk id="28" creationId="{A3B7128D-3A4D-4AD4-BFA1-098CC3DA66BA}"/>
          </ac:spMkLst>
        </pc:spChg>
        <pc:spChg chg="mod">
          <ac:chgData name="Gao, Tianyun (SI BP AUT EA PROD)" userId="25b3c3cc-5a46-4d03-a516-a1293833cff3" providerId="ADAL" clId="{52F1EEC8-C137-47CF-8DA9-1E346ECB6117}" dt="2021-07-22T14:46:31.643" v="2965" actId="1038"/>
          <ac:spMkLst>
            <pc:docMk/>
            <pc:sldMk cId="2399341281" sldId="2587"/>
            <ac:spMk id="30" creationId="{785D7C1F-2520-4945-9D56-54DC8AE4F309}"/>
          </ac:spMkLst>
        </pc:spChg>
        <pc:spChg chg="del">
          <ac:chgData name="Gao, Tianyun (SI BP AUT EA PROD)" userId="25b3c3cc-5a46-4d03-a516-a1293833cff3" providerId="ADAL" clId="{52F1EEC8-C137-47CF-8DA9-1E346ECB6117}" dt="2021-07-22T14:40:18.312" v="2923" actId="478"/>
          <ac:spMkLst>
            <pc:docMk/>
            <pc:sldMk cId="2399341281" sldId="2587"/>
            <ac:spMk id="5126" creationId="{BF2D2108-7AB9-4C70-9BD1-F29FADE5B8E9}"/>
          </ac:spMkLst>
        </pc:spChg>
        <pc:spChg chg="del">
          <ac:chgData name="Gao, Tianyun (SI BP AUT EA PROD)" userId="25b3c3cc-5a46-4d03-a516-a1293833cff3" providerId="ADAL" clId="{52F1EEC8-C137-47CF-8DA9-1E346ECB6117}" dt="2021-07-22T14:40:18.312" v="2923" actId="478"/>
          <ac:spMkLst>
            <pc:docMk/>
            <pc:sldMk cId="2399341281" sldId="2587"/>
            <ac:spMk id="5127" creationId="{EFFE4316-AA5F-4FAB-B5F9-57094213B90D}"/>
          </ac:spMkLst>
        </pc:spChg>
        <pc:spChg chg="del">
          <ac:chgData name="Gao, Tianyun (SI BP AUT EA PROD)" userId="25b3c3cc-5a46-4d03-a516-a1293833cff3" providerId="ADAL" clId="{52F1EEC8-C137-47CF-8DA9-1E346ECB6117}" dt="2021-07-22T14:40:18.312" v="2923" actId="478"/>
          <ac:spMkLst>
            <pc:docMk/>
            <pc:sldMk cId="2399341281" sldId="2587"/>
            <ac:spMk id="5129" creationId="{401BCBC9-B26F-4EB9-882D-4BD4E0230ECD}"/>
          </ac:spMkLst>
        </pc:spChg>
        <pc:spChg chg="del">
          <ac:chgData name="Gao, Tianyun (SI BP AUT EA PROD)" userId="25b3c3cc-5a46-4d03-a516-a1293833cff3" providerId="ADAL" clId="{52F1EEC8-C137-47CF-8DA9-1E346ECB6117}" dt="2021-07-22T14:40:18.312" v="2923" actId="478"/>
          <ac:spMkLst>
            <pc:docMk/>
            <pc:sldMk cId="2399341281" sldId="2587"/>
            <ac:spMk id="5130" creationId="{643D4502-63C1-49A6-B827-F953B90622BC}"/>
          </ac:spMkLst>
        </pc:spChg>
        <pc:spChg chg="del">
          <ac:chgData name="Gao, Tianyun (SI BP AUT EA PROD)" userId="25b3c3cc-5a46-4d03-a516-a1293833cff3" providerId="ADAL" clId="{52F1EEC8-C137-47CF-8DA9-1E346ECB6117}" dt="2021-07-22T14:40:18.312" v="2923" actId="478"/>
          <ac:spMkLst>
            <pc:docMk/>
            <pc:sldMk cId="2399341281" sldId="2587"/>
            <ac:spMk id="5133" creationId="{FD24B05B-A136-42D5-9460-F09E2C0CB8F3}"/>
          </ac:spMkLst>
        </pc:spChg>
        <pc:spChg chg="del">
          <ac:chgData name="Gao, Tianyun (SI BP AUT EA PROD)" userId="25b3c3cc-5a46-4d03-a516-a1293833cff3" providerId="ADAL" clId="{52F1EEC8-C137-47CF-8DA9-1E346ECB6117}" dt="2021-07-22T14:40:18.312" v="2923" actId="478"/>
          <ac:spMkLst>
            <pc:docMk/>
            <pc:sldMk cId="2399341281" sldId="2587"/>
            <ac:spMk id="5134" creationId="{D26F6A7F-A697-4322-B2C8-3F1AA3EEB0D8}"/>
          </ac:spMkLst>
        </pc:spChg>
        <pc:spChg chg="del">
          <ac:chgData name="Gao, Tianyun (SI BP AUT EA PROD)" userId="25b3c3cc-5a46-4d03-a516-a1293833cff3" providerId="ADAL" clId="{52F1EEC8-C137-47CF-8DA9-1E346ECB6117}" dt="2021-07-22T14:40:18.312" v="2923" actId="478"/>
          <ac:spMkLst>
            <pc:docMk/>
            <pc:sldMk cId="2399341281" sldId="2587"/>
            <ac:spMk id="5137" creationId="{EA215408-2965-488A-B51F-3E8F710538C1}"/>
          </ac:spMkLst>
        </pc:spChg>
        <pc:grpChg chg="add mod">
          <ac:chgData name="Gao, Tianyun (SI BP AUT EA PROD)" userId="25b3c3cc-5a46-4d03-a516-a1293833cff3" providerId="ADAL" clId="{52F1EEC8-C137-47CF-8DA9-1E346ECB6117}" dt="2021-07-22T14:46:31.643" v="2965" actId="1038"/>
          <ac:grpSpMkLst>
            <pc:docMk/>
            <pc:sldMk cId="2399341281" sldId="2587"/>
            <ac:grpSpMk id="22" creationId="{3A2FBA37-DB47-423C-A875-32DDEC8CDA6B}"/>
          </ac:grpSpMkLst>
        </pc:grpChg>
        <pc:grpChg chg="mod">
          <ac:chgData name="Gao, Tianyun (SI BP AUT EA PROD)" userId="25b3c3cc-5a46-4d03-a516-a1293833cff3" providerId="ADAL" clId="{52F1EEC8-C137-47CF-8DA9-1E346ECB6117}" dt="2021-07-22T14:46:31.643" v="2965" actId="1038"/>
          <ac:grpSpMkLst>
            <pc:docMk/>
            <pc:sldMk cId="2399341281" sldId="2587"/>
            <ac:grpSpMk id="29" creationId="{A797E999-E797-46CB-9AEE-D6841F78E3E4}"/>
          </ac:grpSpMkLst>
        </pc:grpChg>
        <pc:grpChg chg="del">
          <ac:chgData name="Gao, Tianyun (SI BP AUT EA PROD)" userId="25b3c3cc-5a46-4d03-a516-a1293833cff3" providerId="ADAL" clId="{52F1EEC8-C137-47CF-8DA9-1E346ECB6117}" dt="2021-07-22T14:40:18.312" v="2923" actId="478"/>
          <ac:grpSpMkLst>
            <pc:docMk/>
            <pc:sldMk cId="2399341281" sldId="2587"/>
            <ac:grpSpMk id="5128" creationId="{18574174-F828-41D3-A2F0-72F5CEDBE9D8}"/>
          </ac:grpSpMkLst>
        </pc:grpChg>
        <pc:picChg chg="mod">
          <ac:chgData name="Gao, Tianyun (SI BP AUT EA PROD)" userId="25b3c3cc-5a46-4d03-a516-a1293833cff3" providerId="ADAL" clId="{52F1EEC8-C137-47CF-8DA9-1E346ECB6117}" dt="2021-07-22T14:46:31.643" v="2965" actId="1038"/>
          <ac:picMkLst>
            <pc:docMk/>
            <pc:sldMk cId="2399341281" sldId="2587"/>
            <ac:picMk id="31" creationId="{65144A38-C627-48CF-9752-76126A4BC2FD}"/>
          </ac:picMkLst>
        </pc:picChg>
        <pc:cxnChg chg="del">
          <ac:chgData name="Gao, Tianyun (SI BP AUT EA PROD)" userId="25b3c3cc-5a46-4d03-a516-a1293833cff3" providerId="ADAL" clId="{52F1EEC8-C137-47CF-8DA9-1E346ECB6117}" dt="2021-07-22T14:40:18.312" v="2923" actId="478"/>
          <ac:cxnSpMkLst>
            <pc:docMk/>
            <pc:sldMk cId="2399341281" sldId="2587"/>
            <ac:cxnSpMk id="5135" creationId="{03475409-509C-4028-B02C-91FF7D77B6CE}"/>
          </ac:cxnSpMkLst>
        </pc:cxnChg>
        <pc:cxnChg chg="del">
          <ac:chgData name="Gao, Tianyun (SI BP AUT EA PROD)" userId="25b3c3cc-5a46-4d03-a516-a1293833cff3" providerId="ADAL" clId="{52F1EEC8-C137-47CF-8DA9-1E346ECB6117}" dt="2021-07-22T14:40:18.312" v="2923" actId="478"/>
          <ac:cxnSpMkLst>
            <pc:docMk/>
            <pc:sldMk cId="2399341281" sldId="2587"/>
            <ac:cxnSpMk id="5136" creationId="{18CCAF14-1139-41C5-9BE0-E9FBA285225B}"/>
          </ac:cxnSpMkLst>
        </pc:cxnChg>
      </pc:sldChg>
      <pc:sldChg chg="modSp add mod">
        <pc:chgData name="Gao, Tianyun (SI BP AUT EA PROD)" userId="25b3c3cc-5a46-4d03-a516-a1293833cff3" providerId="ADAL" clId="{52F1EEC8-C137-47CF-8DA9-1E346ECB6117}" dt="2021-07-22T14:47:20.882" v="3020" actId="1038"/>
        <pc:sldMkLst>
          <pc:docMk/>
          <pc:sldMk cId="3433220361" sldId="2588"/>
        </pc:sldMkLst>
        <pc:spChg chg="mod">
          <ac:chgData name="Gao, Tianyun (SI BP AUT EA PROD)" userId="25b3c3cc-5a46-4d03-a516-a1293833cff3" providerId="ADAL" clId="{52F1EEC8-C137-47CF-8DA9-1E346ECB6117}" dt="2021-07-22T14:47:16.402" v="3014" actId="20577"/>
          <ac:spMkLst>
            <pc:docMk/>
            <pc:sldMk cId="3433220361" sldId="2588"/>
            <ac:spMk id="23" creationId="{A9D7DEF1-983A-4481-8ADB-8E5C8BE63BDF}"/>
          </ac:spMkLst>
        </pc:spChg>
        <pc:spChg chg="mod">
          <ac:chgData name="Gao, Tianyun (SI BP AUT EA PROD)" userId="25b3c3cc-5a46-4d03-a516-a1293833cff3" providerId="ADAL" clId="{52F1EEC8-C137-47CF-8DA9-1E346ECB6117}" dt="2021-07-22T14:47:20.882" v="3020" actId="1038"/>
          <ac:spMkLst>
            <pc:docMk/>
            <pc:sldMk cId="3433220361" sldId="2588"/>
            <ac:spMk id="26" creationId="{A63B4171-69BB-4CCE-B3D2-4150067D1AAD}"/>
          </ac:spMkLst>
        </pc:spChg>
        <pc:spChg chg="mod">
          <ac:chgData name="Gao, Tianyun (SI BP AUT EA PROD)" userId="25b3c3cc-5a46-4d03-a516-a1293833cff3" providerId="ADAL" clId="{52F1EEC8-C137-47CF-8DA9-1E346ECB6117}" dt="2021-07-22T14:47:20.882" v="3020" actId="1038"/>
          <ac:spMkLst>
            <pc:docMk/>
            <pc:sldMk cId="3433220361" sldId="2588"/>
            <ac:spMk id="30" creationId="{785D7C1F-2520-4945-9D56-54DC8AE4F309}"/>
          </ac:spMkLst>
        </pc:spChg>
        <pc:grpChg chg="mod">
          <ac:chgData name="Gao, Tianyun (SI BP AUT EA PROD)" userId="25b3c3cc-5a46-4d03-a516-a1293833cff3" providerId="ADAL" clId="{52F1EEC8-C137-47CF-8DA9-1E346ECB6117}" dt="2021-07-22T14:47:20.882" v="3020" actId="1038"/>
          <ac:grpSpMkLst>
            <pc:docMk/>
            <pc:sldMk cId="3433220361" sldId="2588"/>
            <ac:grpSpMk id="22" creationId="{3A2FBA37-DB47-423C-A875-32DDEC8CDA6B}"/>
          </ac:grpSpMkLst>
        </pc:grpChg>
        <pc:grpChg chg="mod">
          <ac:chgData name="Gao, Tianyun (SI BP AUT EA PROD)" userId="25b3c3cc-5a46-4d03-a516-a1293833cff3" providerId="ADAL" clId="{52F1EEC8-C137-47CF-8DA9-1E346ECB6117}" dt="2021-07-22T14:47:20.882" v="3020" actId="1038"/>
          <ac:grpSpMkLst>
            <pc:docMk/>
            <pc:sldMk cId="3433220361" sldId="2588"/>
            <ac:grpSpMk id="29" creationId="{A797E999-E797-46CB-9AEE-D6841F78E3E4}"/>
          </ac:grpSpMkLst>
        </pc:grpChg>
        <pc:picChg chg="mod">
          <ac:chgData name="Gao, Tianyun (SI BP AUT EA PROD)" userId="25b3c3cc-5a46-4d03-a516-a1293833cff3" providerId="ADAL" clId="{52F1EEC8-C137-47CF-8DA9-1E346ECB6117}" dt="2021-07-22T14:47:20.882" v="3020" actId="1038"/>
          <ac:picMkLst>
            <pc:docMk/>
            <pc:sldMk cId="3433220361" sldId="2588"/>
            <ac:picMk id="31" creationId="{65144A38-C627-48CF-9752-76126A4BC2FD}"/>
          </ac:picMkLst>
        </pc:picChg>
      </pc:sldChg>
    </pc:docChg>
  </pc:docChgLst>
  <pc:docChgLst>
    <pc:chgData name="Müller, Kurt (SI BP S TSS ACD)" userId="e7e82c7e-80c6-42a5-ab71-24588885b7fe" providerId="ADAL" clId="{C7875A0E-AB8E-4890-AF92-6879CBAFFA5B}"/>
    <pc:docChg chg="custSel delSld modSld sldOrd">
      <pc:chgData name="Müller, Kurt (SI BP S TSS ACD)" userId="e7e82c7e-80c6-42a5-ab71-24588885b7fe" providerId="ADAL" clId="{C7875A0E-AB8E-4890-AF92-6879CBAFFA5B}" dt="2021-11-05T14:11:03.347" v="366" actId="13926"/>
      <pc:docMkLst>
        <pc:docMk/>
      </pc:docMkLst>
      <pc:sldChg chg="del">
        <pc:chgData name="Müller, Kurt (SI BP S TSS ACD)" userId="e7e82c7e-80c6-42a5-ab71-24588885b7fe" providerId="ADAL" clId="{C7875A0E-AB8E-4890-AF92-6879CBAFFA5B}" dt="2021-10-19T08:47:18.036" v="146" actId="47"/>
        <pc:sldMkLst>
          <pc:docMk/>
          <pc:sldMk cId="0" sldId="500"/>
        </pc:sldMkLst>
      </pc:sldChg>
      <pc:sldChg chg="del">
        <pc:chgData name="Müller, Kurt (SI BP S TSS ACD)" userId="e7e82c7e-80c6-42a5-ab71-24588885b7fe" providerId="ADAL" clId="{C7875A0E-AB8E-4890-AF92-6879CBAFFA5B}" dt="2021-10-19T08:47:19.485" v="147" actId="47"/>
        <pc:sldMkLst>
          <pc:docMk/>
          <pc:sldMk cId="0" sldId="501"/>
        </pc:sldMkLst>
      </pc:sldChg>
      <pc:sldChg chg="del">
        <pc:chgData name="Müller, Kurt (SI BP S TSS ACD)" userId="e7e82c7e-80c6-42a5-ab71-24588885b7fe" providerId="ADAL" clId="{C7875A0E-AB8E-4890-AF92-6879CBAFFA5B}" dt="2021-10-19T08:47:58.251" v="148" actId="47"/>
        <pc:sldMkLst>
          <pc:docMk/>
          <pc:sldMk cId="0" sldId="502"/>
        </pc:sldMkLst>
      </pc:sldChg>
      <pc:sldChg chg="del">
        <pc:chgData name="Müller, Kurt (SI BP S TSS ACD)" userId="e7e82c7e-80c6-42a5-ab71-24588885b7fe" providerId="ADAL" clId="{C7875A0E-AB8E-4890-AF92-6879CBAFFA5B}" dt="2021-10-19T08:47:59.696" v="149" actId="47"/>
        <pc:sldMkLst>
          <pc:docMk/>
          <pc:sldMk cId="0" sldId="503"/>
        </pc:sldMkLst>
      </pc:sldChg>
      <pc:sldChg chg="modSp del mod">
        <pc:chgData name="Müller, Kurt (SI BP S TSS ACD)" userId="e7e82c7e-80c6-42a5-ab71-24588885b7fe" providerId="ADAL" clId="{C7875A0E-AB8E-4890-AF92-6879CBAFFA5B}" dt="2021-10-19T08:45:48.079" v="143" actId="47"/>
        <pc:sldMkLst>
          <pc:docMk/>
          <pc:sldMk cId="0" sldId="504"/>
        </pc:sldMkLst>
        <pc:spChg chg="mod">
          <ac:chgData name="Müller, Kurt (SI BP S TSS ACD)" userId="e7e82c7e-80c6-42a5-ab71-24588885b7fe" providerId="ADAL" clId="{C7875A0E-AB8E-4890-AF92-6879CBAFFA5B}" dt="2021-10-19T08:40:55.798" v="71" actId="20577"/>
          <ac:spMkLst>
            <pc:docMk/>
            <pc:sldMk cId="0" sldId="504"/>
            <ac:spMk id="15" creationId="{136E926E-DEF0-4B8E-9F84-F44A5A50BD7B}"/>
          </ac:spMkLst>
        </pc:spChg>
      </pc:sldChg>
      <pc:sldChg chg="addSp modSp del mod">
        <pc:chgData name="Müller, Kurt (SI BP S TSS ACD)" userId="e7e82c7e-80c6-42a5-ab71-24588885b7fe" providerId="ADAL" clId="{C7875A0E-AB8E-4890-AF92-6879CBAFFA5B}" dt="2021-10-19T08:45:48.079" v="143" actId="47"/>
        <pc:sldMkLst>
          <pc:docMk/>
          <pc:sldMk cId="0" sldId="505"/>
        </pc:sldMkLst>
        <pc:spChg chg="add mod">
          <ac:chgData name="Müller, Kurt (SI BP S TSS ACD)" userId="e7e82c7e-80c6-42a5-ab71-24588885b7fe" providerId="ADAL" clId="{C7875A0E-AB8E-4890-AF92-6879CBAFFA5B}" dt="2021-10-19T08:41:16.676" v="75" actId="1076"/>
          <ac:spMkLst>
            <pc:docMk/>
            <pc:sldMk cId="0" sldId="505"/>
            <ac:spMk id="13" creationId="{2E92A79F-370E-4431-B6FA-71106C25F1F1}"/>
          </ac:spMkLst>
        </pc:spChg>
      </pc:sldChg>
      <pc:sldChg chg="addSp modSp del mod">
        <pc:chgData name="Müller, Kurt (SI BP S TSS ACD)" userId="e7e82c7e-80c6-42a5-ab71-24588885b7fe" providerId="ADAL" clId="{C7875A0E-AB8E-4890-AF92-6879CBAFFA5B}" dt="2021-10-19T08:45:48.079" v="143" actId="47"/>
        <pc:sldMkLst>
          <pc:docMk/>
          <pc:sldMk cId="0" sldId="506"/>
        </pc:sldMkLst>
        <pc:spChg chg="add mod">
          <ac:chgData name="Müller, Kurt (SI BP S TSS ACD)" userId="e7e82c7e-80c6-42a5-ab71-24588885b7fe" providerId="ADAL" clId="{C7875A0E-AB8E-4890-AF92-6879CBAFFA5B}" dt="2021-10-19T08:41:31.677" v="77" actId="1076"/>
          <ac:spMkLst>
            <pc:docMk/>
            <pc:sldMk cId="0" sldId="506"/>
            <ac:spMk id="14" creationId="{875C63CA-FF8F-4ECD-833F-58F8D65567B0}"/>
          </ac:spMkLst>
        </pc:spChg>
      </pc:sldChg>
      <pc:sldChg chg="addSp modSp del mod">
        <pc:chgData name="Müller, Kurt (SI BP S TSS ACD)" userId="e7e82c7e-80c6-42a5-ab71-24588885b7fe" providerId="ADAL" clId="{C7875A0E-AB8E-4890-AF92-6879CBAFFA5B}" dt="2021-10-19T08:45:48.079" v="143" actId="47"/>
        <pc:sldMkLst>
          <pc:docMk/>
          <pc:sldMk cId="0" sldId="507"/>
        </pc:sldMkLst>
        <pc:spChg chg="add mod">
          <ac:chgData name="Müller, Kurt (SI BP S TSS ACD)" userId="e7e82c7e-80c6-42a5-ab71-24588885b7fe" providerId="ADAL" clId="{C7875A0E-AB8E-4890-AF92-6879CBAFFA5B}" dt="2021-10-19T08:43:56.479" v="119" actId="207"/>
          <ac:spMkLst>
            <pc:docMk/>
            <pc:sldMk cId="0" sldId="507"/>
            <ac:spMk id="15" creationId="{2AB86F15-3991-4F82-8DFB-6BB9531DC623}"/>
          </ac:spMkLst>
        </pc:spChg>
        <pc:spChg chg="add mod">
          <ac:chgData name="Müller, Kurt (SI BP S TSS ACD)" userId="e7e82c7e-80c6-42a5-ab71-24588885b7fe" providerId="ADAL" clId="{C7875A0E-AB8E-4890-AF92-6879CBAFFA5B}" dt="2021-10-19T08:42:25.533" v="112" actId="20577"/>
          <ac:spMkLst>
            <pc:docMk/>
            <pc:sldMk cId="0" sldId="507"/>
            <ac:spMk id="16" creationId="{D94CC728-99F8-421A-BC55-491E4E269F67}"/>
          </ac:spMkLst>
        </pc:spChg>
        <pc:spChg chg="mod">
          <ac:chgData name="Müller, Kurt (SI BP S TSS ACD)" userId="e7e82c7e-80c6-42a5-ab71-24588885b7fe" providerId="ADAL" clId="{C7875A0E-AB8E-4890-AF92-6879CBAFFA5B}" dt="2021-10-19T08:42:11.903" v="80" actId="120"/>
          <ac:spMkLst>
            <pc:docMk/>
            <pc:sldMk cId="0" sldId="507"/>
            <ac:spMk id="15366" creationId="{8E5FB515-80AF-445D-9DC1-B727EABB56F4}"/>
          </ac:spMkLst>
        </pc:spChg>
      </pc:sldChg>
      <pc:sldChg chg="del">
        <pc:chgData name="Müller, Kurt (SI BP S TSS ACD)" userId="e7e82c7e-80c6-42a5-ab71-24588885b7fe" providerId="ADAL" clId="{C7875A0E-AB8E-4890-AF92-6879CBAFFA5B}" dt="2021-10-19T08:46:29.193" v="144" actId="47"/>
        <pc:sldMkLst>
          <pc:docMk/>
          <pc:sldMk cId="0" sldId="508"/>
        </pc:sldMkLst>
      </pc:sldChg>
      <pc:sldChg chg="addSp modSp mod">
        <pc:chgData name="Müller, Kurt (SI BP S TSS ACD)" userId="e7e82c7e-80c6-42a5-ab71-24588885b7fe" providerId="ADAL" clId="{C7875A0E-AB8E-4890-AF92-6879CBAFFA5B}" dt="2021-11-05T14:11:03.347" v="366" actId="13926"/>
        <pc:sldMkLst>
          <pc:docMk/>
          <pc:sldMk cId="3220879553" sldId="509"/>
        </pc:sldMkLst>
        <pc:spChg chg="mod">
          <ac:chgData name="Müller, Kurt (SI BP S TSS ACD)" userId="e7e82c7e-80c6-42a5-ab71-24588885b7fe" providerId="ADAL" clId="{C7875A0E-AB8E-4890-AF92-6879CBAFFA5B}" dt="2021-10-19T08:51:37.748" v="175" actId="21"/>
          <ac:spMkLst>
            <pc:docMk/>
            <pc:sldMk cId="3220879553" sldId="509"/>
            <ac:spMk id="7" creationId="{A7DD355B-1CCA-4152-B861-77D7474104B2}"/>
          </ac:spMkLst>
        </pc:spChg>
        <pc:spChg chg="add mod">
          <ac:chgData name="Müller, Kurt (SI BP S TSS ACD)" userId="e7e82c7e-80c6-42a5-ab71-24588885b7fe" providerId="ADAL" clId="{C7875A0E-AB8E-4890-AF92-6879CBAFFA5B}" dt="2021-10-19T08:59:44.725" v="303" actId="6549"/>
          <ac:spMkLst>
            <pc:docMk/>
            <pc:sldMk cId="3220879553" sldId="509"/>
            <ac:spMk id="9" creationId="{DD62A5EB-23BE-436B-8C12-F071E0032732}"/>
          </ac:spMkLst>
        </pc:spChg>
        <pc:spChg chg="add mod">
          <ac:chgData name="Müller, Kurt (SI BP S TSS ACD)" userId="e7e82c7e-80c6-42a5-ab71-24588885b7fe" providerId="ADAL" clId="{C7875A0E-AB8E-4890-AF92-6879CBAFFA5B}" dt="2021-11-05T14:11:03.347" v="366" actId="13926"/>
          <ac:spMkLst>
            <pc:docMk/>
            <pc:sldMk cId="3220879553" sldId="509"/>
            <ac:spMk id="13" creationId="{A56AB44A-5CD3-487E-B2C5-A0B31801E708}"/>
          </ac:spMkLst>
        </pc:spChg>
        <pc:spChg chg="add mod">
          <ac:chgData name="Müller, Kurt (SI BP S TSS ACD)" userId="e7e82c7e-80c6-42a5-ab71-24588885b7fe" providerId="ADAL" clId="{C7875A0E-AB8E-4890-AF92-6879CBAFFA5B}" dt="2021-11-05T14:11:03.347" v="366" actId="13926"/>
          <ac:spMkLst>
            <pc:docMk/>
            <pc:sldMk cId="3220879553" sldId="509"/>
            <ac:spMk id="14" creationId="{E02135E8-B0D9-477B-89CF-910E4F666A26}"/>
          </ac:spMkLst>
        </pc:spChg>
        <pc:spChg chg="add mod">
          <ac:chgData name="Müller, Kurt (SI BP S TSS ACD)" userId="e7e82c7e-80c6-42a5-ab71-24588885b7fe" providerId="ADAL" clId="{C7875A0E-AB8E-4890-AF92-6879CBAFFA5B}" dt="2021-10-19T09:03:57.243" v="338" actId="20577"/>
          <ac:spMkLst>
            <pc:docMk/>
            <pc:sldMk cId="3220879553" sldId="509"/>
            <ac:spMk id="15" creationId="{DF667979-B71E-4D0D-BE76-92B48FCDF7DF}"/>
          </ac:spMkLst>
        </pc:spChg>
        <pc:spChg chg="add mod">
          <ac:chgData name="Müller, Kurt (SI BP S TSS ACD)" userId="e7e82c7e-80c6-42a5-ab71-24588885b7fe" providerId="ADAL" clId="{C7875A0E-AB8E-4890-AF92-6879CBAFFA5B}" dt="2021-10-19T09:06:07.337" v="363" actId="1076"/>
          <ac:spMkLst>
            <pc:docMk/>
            <pc:sldMk cId="3220879553" sldId="509"/>
            <ac:spMk id="16" creationId="{EAA3D7A5-E639-40D4-B36F-81CC3C6CA64E}"/>
          </ac:spMkLst>
        </pc:spChg>
        <pc:spChg chg="mod">
          <ac:chgData name="Müller, Kurt (SI BP S TSS ACD)" userId="e7e82c7e-80c6-42a5-ab71-24588885b7fe" providerId="ADAL" clId="{C7875A0E-AB8E-4890-AF92-6879CBAFFA5B}" dt="2021-10-19T08:59:21.353" v="296" actId="1076"/>
          <ac:spMkLst>
            <pc:docMk/>
            <pc:sldMk cId="3220879553" sldId="509"/>
            <ac:spMk id="9222" creationId="{59304753-3D28-4631-BD0E-7DBF8A1EA6E1}"/>
          </ac:spMkLst>
        </pc:spChg>
        <pc:picChg chg="mod">
          <ac:chgData name="Müller, Kurt (SI BP S TSS ACD)" userId="e7e82c7e-80c6-42a5-ab71-24588885b7fe" providerId="ADAL" clId="{C7875A0E-AB8E-4890-AF92-6879CBAFFA5B}" dt="2021-11-05T14:10:41.700" v="365" actId="1076"/>
          <ac:picMkLst>
            <pc:docMk/>
            <pc:sldMk cId="3220879553" sldId="509"/>
            <ac:picMk id="9223" creationId="{291300C2-A3BF-46DD-AA4C-B4024AB60D28}"/>
          </ac:picMkLst>
        </pc:picChg>
      </pc:sldChg>
      <pc:sldChg chg="del">
        <pc:chgData name="Müller, Kurt (SI BP S TSS ACD)" userId="e7e82c7e-80c6-42a5-ab71-24588885b7fe" providerId="ADAL" clId="{C7875A0E-AB8E-4890-AF92-6879CBAFFA5B}" dt="2021-10-19T08:46:59.152" v="145" actId="47"/>
        <pc:sldMkLst>
          <pc:docMk/>
          <pc:sldMk cId="0" sldId="511"/>
        </pc:sldMkLst>
      </pc:sldChg>
      <pc:sldChg chg="addSp modSp mod ord">
        <pc:chgData name="Müller, Kurt (SI BP S TSS ACD)" userId="e7e82c7e-80c6-42a5-ab71-24588885b7fe" providerId="ADAL" clId="{C7875A0E-AB8E-4890-AF92-6879CBAFFA5B}" dt="2021-10-19T08:45:17.339" v="142" actId="14100"/>
        <pc:sldMkLst>
          <pc:docMk/>
          <pc:sldMk cId="2351967476" sldId="512"/>
        </pc:sldMkLst>
        <pc:spChg chg="add mod">
          <ac:chgData name="Müller, Kurt (SI BP S TSS ACD)" userId="e7e82c7e-80c6-42a5-ab71-24588885b7fe" providerId="ADAL" clId="{C7875A0E-AB8E-4890-AF92-6879CBAFFA5B}" dt="2021-10-19T08:45:17.339" v="142" actId="14100"/>
          <ac:spMkLst>
            <pc:docMk/>
            <pc:sldMk cId="2351967476" sldId="512"/>
            <ac:spMk id="40" creationId="{4A37B017-D3A3-4019-828F-ED1C233A716B}"/>
          </ac:spMkLst>
        </pc:spChg>
      </pc:sldChg>
      <pc:sldChg chg="modSp mod">
        <pc:chgData name="Müller, Kurt (SI BP S TSS ACD)" userId="e7e82c7e-80c6-42a5-ab71-24588885b7fe" providerId="ADAL" clId="{C7875A0E-AB8E-4890-AF92-6879CBAFFA5B}" dt="2021-10-19T08:56:06.854" v="294" actId="113"/>
        <pc:sldMkLst>
          <pc:docMk/>
          <pc:sldMk cId="1402478112" sldId="2583"/>
        </pc:sldMkLst>
        <pc:spChg chg="mod">
          <ac:chgData name="Müller, Kurt (SI BP S TSS ACD)" userId="e7e82c7e-80c6-42a5-ab71-24588885b7fe" providerId="ADAL" clId="{C7875A0E-AB8E-4890-AF92-6879CBAFFA5B}" dt="2021-10-19T08:56:06.854" v="294" actId="113"/>
          <ac:spMkLst>
            <pc:docMk/>
            <pc:sldMk cId="1402478112" sldId="2583"/>
            <ac:spMk id="7" creationId="{ACAB2C52-5885-4E21-B99C-8FB0774DE9B6}"/>
          </ac:spMkLst>
        </pc:spChg>
      </pc:sldChg>
      <pc:sldChg chg="mod modShow">
        <pc:chgData name="Müller, Kurt (SI BP S TSS ACD)" userId="e7e82c7e-80c6-42a5-ab71-24588885b7fe" providerId="ADAL" clId="{C7875A0E-AB8E-4890-AF92-6879CBAFFA5B}" dt="2021-10-19T08:39:07.926" v="33" actId="729"/>
        <pc:sldMkLst>
          <pc:docMk/>
          <pc:sldMk cId="2399341281" sldId="2587"/>
        </pc:sldMkLst>
      </pc:sldChg>
      <pc:sldChg chg="addSp modSp mod modShow">
        <pc:chgData name="Müller, Kurt (SI BP S TSS ACD)" userId="e7e82c7e-80c6-42a5-ab71-24588885b7fe" providerId="ADAL" clId="{C7875A0E-AB8E-4890-AF92-6879CBAFFA5B}" dt="2021-10-19T08:39:31.112" v="58" actId="20577"/>
        <pc:sldMkLst>
          <pc:docMk/>
          <pc:sldMk cId="3433220361" sldId="2588"/>
        </pc:sldMkLst>
        <pc:spChg chg="add mod">
          <ac:chgData name="Müller, Kurt (SI BP S TSS ACD)" userId="e7e82c7e-80c6-42a5-ab71-24588885b7fe" providerId="ADAL" clId="{C7875A0E-AB8E-4890-AF92-6879CBAFFA5B}" dt="2021-10-19T08:39:31.112" v="58" actId="20577"/>
          <ac:spMkLst>
            <pc:docMk/>
            <pc:sldMk cId="3433220361" sldId="2588"/>
            <ac:spMk id="2" creationId="{DF251969-AD63-45EC-B645-2FFBC6D9CF33}"/>
          </ac:spMkLst>
        </pc:spChg>
        <pc:spChg chg="mod">
          <ac:chgData name="Müller, Kurt (SI BP S TSS ACD)" userId="e7e82c7e-80c6-42a5-ab71-24588885b7fe" providerId="ADAL" clId="{C7875A0E-AB8E-4890-AF92-6879CBAFFA5B}" dt="2021-10-19T08:34:46.845" v="32" actId="1076"/>
          <ac:spMkLst>
            <pc:docMk/>
            <pc:sldMk cId="3433220361" sldId="2588"/>
            <ac:spMk id="11" creationId="{DA2AED21-6156-4C29-99E5-0D1895C07DFA}"/>
          </ac:spMkLst>
        </pc:spChg>
      </pc:sldChg>
      <pc:sldChg chg="modSp mod">
        <pc:chgData name="Müller, Kurt (SI BP S TSS ACD)" userId="e7e82c7e-80c6-42a5-ab71-24588885b7fe" providerId="ADAL" clId="{C7875A0E-AB8E-4890-AF92-6879CBAFFA5B}" dt="2021-10-19T08:23:39.112" v="31" actId="5793"/>
        <pc:sldMkLst>
          <pc:docMk/>
          <pc:sldMk cId="1645637749" sldId="2589"/>
        </pc:sldMkLst>
        <pc:spChg chg="mod">
          <ac:chgData name="Müller, Kurt (SI BP S TSS ACD)" userId="e7e82c7e-80c6-42a5-ab71-24588885b7fe" providerId="ADAL" clId="{C7875A0E-AB8E-4890-AF92-6879CBAFFA5B}" dt="2021-10-19T08:23:39.112" v="31" actId="5793"/>
          <ac:spMkLst>
            <pc:docMk/>
            <pc:sldMk cId="1645637749" sldId="2589"/>
            <ac:spMk id="72" creationId="{2EEF17EA-1DC9-4275-BDD0-9F35E1BC00E3}"/>
          </ac:spMkLst>
        </pc:spChg>
      </pc:sldChg>
      <pc:sldChg chg="modSp mod">
        <pc:chgData name="Müller, Kurt (SI BP S TSS ACD)" userId="e7e82c7e-80c6-42a5-ab71-24588885b7fe" providerId="ADAL" clId="{C7875A0E-AB8E-4890-AF92-6879CBAFFA5B}" dt="2021-10-19T08:23:15.410" v="28" actId="5793"/>
        <pc:sldMkLst>
          <pc:docMk/>
          <pc:sldMk cId="709573458" sldId="2593"/>
        </pc:sldMkLst>
        <pc:spChg chg="mod">
          <ac:chgData name="Müller, Kurt (SI BP S TSS ACD)" userId="e7e82c7e-80c6-42a5-ab71-24588885b7fe" providerId="ADAL" clId="{C7875A0E-AB8E-4890-AF92-6879CBAFFA5B}" dt="2021-10-19T08:23:15.410" v="28" actId="5793"/>
          <ac:spMkLst>
            <pc:docMk/>
            <pc:sldMk cId="709573458" sldId="2593"/>
            <ac:spMk id="3" creationId="{50E17820-B62F-4719-80D9-FEC26EF1D72C}"/>
          </ac:spMkLst>
        </pc:spChg>
      </pc:sldChg>
      <pc:sldChg chg="modSp mod">
        <pc:chgData name="Müller, Kurt (SI BP S TSS ACD)" userId="e7e82c7e-80c6-42a5-ab71-24588885b7fe" providerId="ADAL" clId="{C7875A0E-AB8E-4890-AF92-6879CBAFFA5B}" dt="2021-10-19T08:18:42.231" v="27" actId="1076"/>
        <pc:sldMkLst>
          <pc:docMk/>
          <pc:sldMk cId="4120696066" sldId="2595"/>
        </pc:sldMkLst>
        <pc:spChg chg="mod">
          <ac:chgData name="Müller, Kurt (SI BP S TSS ACD)" userId="e7e82c7e-80c6-42a5-ab71-24588885b7fe" providerId="ADAL" clId="{C7875A0E-AB8E-4890-AF92-6879CBAFFA5B}" dt="2021-10-19T08:18:39.615" v="26" actId="1076"/>
          <ac:spMkLst>
            <pc:docMk/>
            <pc:sldMk cId="4120696066" sldId="2595"/>
            <ac:spMk id="8" creationId="{3A0F807B-08AE-46F1-ACF0-21B750093F26}"/>
          </ac:spMkLst>
        </pc:spChg>
        <pc:spChg chg="mod">
          <ac:chgData name="Müller, Kurt (SI BP S TSS ACD)" userId="e7e82c7e-80c6-42a5-ab71-24588885b7fe" providerId="ADAL" clId="{C7875A0E-AB8E-4890-AF92-6879CBAFFA5B}" dt="2021-10-19T08:18:42.231" v="27" actId="1076"/>
          <ac:spMkLst>
            <pc:docMk/>
            <pc:sldMk cId="4120696066" sldId="2595"/>
            <ac:spMk id="10" creationId="{4A66B3DC-5784-48A3-A689-AC820E5BD404}"/>
          </ac:spMkLst>
        </pc:spChg>
      </pc:sldChg>
      <pc:sldChg chg="addSp modSp mod">
        <pc:chgData name="Müller, Kurt (SI BP S TSS ACD)" userId="e7e82c7e-80c6-42a5-ab71-24588885b7fe" providerId="ADAL" clId="{C7875A0E-AB8E-4890-AF92-6879CBAFFA5B}" dt="2021-10-19T08:17:44.931" v="25" actId="20577"/>
        <pc:sldMkLst>
          <pc:docMk/>
          <pc:sldMk cId="2117204231" sldId="2597"/>
        </pc:sldMkLst>
        <pc:spChg chg="add mod">
          <ac:chgData name="Müller, Kurt (SI BP S TSS ACD)" userId="e7e82c7e-80c6-42a5-ab71-24588885b7fe" providerId="ADAL" clId="{C7875A0E-AB8E-4890-AF92-6879CBAFFA5B}" dt="2021-10-19T08:17:33.422" v="11" actId="20577"/>
          <ac:spMkLst>
            <pc:docMk/>
            <pc:sldMk cId="2117204231" sldId="2597"/>
            <ac:spMk id="45" creationId="{E50C7CBB-23F1-4923-8E62-E7A303A32646}"/>
          </ac:spMkLst>
        </pc:spChg>
        <pc:spChg chg="add mod">
          <ac:chgData name="Müller, Kurt (SI BP S TSS ACD)" userId="e7e82c7e-80c6-42a5-ab71-24588885b7fe" providerId="ADAL" clId="{C7875A0E-AB8E-4890-AF92-6879CBAFFA5B}" dt="2021-10-19T08:17:38.694" v="18" actId="20577"/>
          <ac:spMkLst>
            <pc:docMk/>
            <pc:sldMk cId="2117204231" sldId="2597"/>
            <ac:spMk id="46" creationId="{6B0C1E6C-CEC0-4B53-9713-80FECEE8F022}"/>
          </ac:spMkLst>
        </pc:spChg>
        <pc:spChg chg="add mod">
          <ac:chgData name="Müller, Kurt (SI BP S TSS ACD)" userId="e7e82c7e-80c6-42a5-ab71-24588885b7fe" providerId="ADAL" clId="{C7875A0E-AB8E-4890-AF92-6879CBAFFA5B}" dt="2021-10-19T08:17:44.931" v="25" actId="20577"/>
          <ac:spMkLst>
            <pc:docMk/>
            <pc:sldMk cId="2117204231" sldId="2597"/>
            <ac:spMk id="48" creationId="{67B6654F-A027-409F-9B53-49EF759FE72B}"/>
          </ac:spMkLst>
        </pc:spChg>
        <pc:picChg chg="mod">
          <ac:chgData name="Müller, Kurt (SI BP S TSS ACD)" userId="e7e82c7e-80c6-42a5-ab71-24588885b7fe" providerId="ADAL" clId="{C7875A0E-AB8E-4890-AF92-6879CBAFFA5B}" dt="2021-10-19T08:17:15.087" v="3" actId="1076"/>
          <ac:picMkLst>
            <pc:docMk/>
            <pc:sldMk cId="2117204231" sldId="2597"/>
            <ac:picMk id="4" creationId="{42161D89-9991-4296-8AC8-5AF3EFB69052}"/>
          </ac:picMkLst>
        </pc:picChg>
      </pc:sldChg>
    </pc:docChg>
  </pc:docChgLst>
  <pc:docChgLst>
    <pc:chgData name="Gao, Tianyun (SI BP AUT EA PROD)" userId="25b3c3cc-5a46-4d03-a516-a1293833cff3" providerId="ADAL" clId="{19C2544C-F1FB-4700-9F01-EAF08EE0B7E8}"/>
    <pc:docChg chg="undo custSel modSld">
      <pc:chgData name="Gao, Tianyun (SI BP AUT EA PROD)" userId="25b3c3cc-5a46-4d03-a516-a1293833cff3" providerId="ADAL" clId="{19C2544C-F1FB-4700-9F01-EAF08EE0B7E8}" dt="2021-08-31T08:55:16.893" v="133" actId="20577"/>
      <pc:docMkLst>
        <pc:docMk/>
      </pc:docMkLst>
      <pc:sldChg chg="addSp modSp mod">
        <pc:chgData name="Gao, Tianyun (SI BP AUT EA PROD)" userId="25b3c3cc-5a46-4d03-a516-a1293833cff3" providerId="ADAL" clId="{19C2544C-F1FB-4700-9F01-EAF08EE0B7E8}" dt="2021-08-31T08:44:35.690" v="61" actId="20577"/>
        <pc:sldMkLst>
          <pc:docMk/>
          <pc:sldMk cId="3635193786" sldId="967"/>
        </pc:sldMkLst>
        <pc:spChg chg="add mod">
          <ac:chgData name="Gao, Tianyun (SI BP AUT EA PROD)" userId="25b3c3cc-5a46-4d03-a516-a1293833cff3" providerId="ADAL" clId="{19C2544C-F1FB-4700-9F01-EAF08EE0B7E8}" dt="2021-08-31T08:43:25.639" v="39" actId="1076"/>
          <ac:spMkLst>
            <pc:docMk/>
            <pc:sldMk cId="3635193786" sldId="967"/>
            <ac:spMk id="5" creationId="{86B3B369-DA5D-4EF1-A634-946EE29B2D70}"/>
          </ac:spMkLst>
        </pc:spChg>
        <pc:spChg chg="add mod">
          <ac:chgData name="Gao, Tianyun (SI BP AUT EA PROD)" userId="25b3c3cc-5a46-4d03-a516-a1293833cff3" providerId="ADAL" clId="{19C2544C-F1FB-4700-9F01-EAF08EE0B7E8}" dt="2021-08-31T08:44:35.690" v="61" actId="20577"/>
          <ac:spMkLst>
            <pc:docMk/>
            <pc:sldMk cId="3635193786" sldId="967"/>
            <ac:spMk id="17" creationId="{7D34A297-BAC5-4AF3-93E1-7530E6A16080}"/>
          </ac:spMkLst>
        </pc:spChg>
        <pc:graphicFrameChg chg="mod">
          <ac:chgData name="Gao, Tianyun (SI BP AUT EA PROD)" userId="25b3c3cc-5a46-4d03-a516-a1293833cff3" providerId="ADAL" clId="{19C2544C-F1FB-4700-9F01-EAF08EE0B7E8}" dt="2021-08-31T08:43:16.247" v="34" actId="1076"/>
          <ac:graphicFrameMkLst>
            <pc:docMk/>
            <pc:sldMk cId="3635193786" sldId="967"/>
            <ac:graphicFrameMk id="16" creationId="{0C7D8580-5C42-4870-B82D-19E862828E06}"/>
          </ac:graphicFrameMkLst>
        </pc:graphicFrameChg>
      </pc:sldChg>
      <pc:sldChg chg="addSp modSp mod">
        <pc:chgData name="Gao, Tianyun (SI BP AUT EA PROD)" userId="25b3c3cc-5a46-4d03-a516-a1293833cff3" providerId="ADAL" clId="{19C2544C-F1FB-4700-9F01-EAF08EE0B7E8}" dt="2021-08-31T08:52:39.735" v="109" actId="1076"/>
        <pc:sldMkLst>
          <pc:docMk/>
          <pc:sldMk cId="4268296303" sldId="969"/>
        </pc:sldMkLst>
        <pc:spChg chg="add mod">
          <ac:chgData name="Gao, Tianyun (SI BP AUT EA PROD)" userId="25b3c3cc-5a46-4d03-a516-a1293833cff3" providerId="ADAL" clId="{19C2544C-F1FB-4700-9F01-EAF08EE0B7E8}" dt="2021-08-31T08:52:39.735" v="109" actId="1076"/>
          <ac:spMkLst>
            <pc:docMk/>
            <pc:sldMk cId="4268296303" sldId="969"/>
            <ac:spMk id="35" creationId="{46515EC4-B996-47D2-9184-FF3A790C5719}"/>
          </ac:spMkLst>
        </pc:spChg>
      </pc:sldChg>
      <pc:sldChg chg="addSp modSp mod">
        <pc:chgData name="Gao, Tianyun (SI BP AUT EA PROD)" userId="25b3c3cc-5a46-4d03-a516-a1293833cff3" providerId="ADAL" clId="{19C2544C-F1FB-4700-9F01-EAF08EE0B7E8}" dt="2021-08-31T08:55:16.893" v="133" actId="20577"/>
        <pc:sldMkLst>
          <pc:docMk/>
          <pc:sldMk cId="2852314789" sldId="973"/>
        </pc:sldMkLst>
        <pc:spChg chg="add mod">
          <ac:chgData name="Gao, Tianyun (SI BP AUT EA PROD)" userId="25b3c3cc-5a46-4d03-a516-a1293833cff3" providerId="ADAL" clId="{19C2544C-F1FB-4700-9F01-EAF08EE0B7E8}" dt="2021-08-31T08:55:16.893" v="133" actId="20577"/>
          <ac:spMkLst>
            <pc:docMk/>
            <pc:sldMk cId="2852314789" sldId="973"/>
            <ac:spMk id="17" creationId="{471A8504-15F7-4E30-9A1F-69A9783FF197}"/>
          </ac:spMkLst>
        </pc:spChg>
      </pc:sldChg>
    </pc:docChg>
  </pc:docChgLst>
  <pc:docChgLst>
    <pc:chgData name="Gao, Tianyun (SI BP FDO CON PROD)" userId="25b3c3cc-5a46-4d03-a516-a1293833cff3" providerId="ADAL" clId="{D28EE0E3-3F55-4F2A-8875-B92F1E1CCF13}"/>
    <pc:docChg chg="undo custSel addSld modSld sldOrd">
      <pc:chgData name="Gao, Tianyun (SI BP FDO CON PROD)" userId="25b3c3cc-5a46-4d03-a516-a1293833cff3" providerId="ADAL" clId="{D28EE0E3-3F55-4F2A-8875-B92F1E1CCF13}" dt="2021-04-01T09:11:56.557" v="1266" actId="20578"/>
      <pc:docMkLst>
        <pc:docMk/>
      </pc:docMkLst>
      <pc:sldChg chg="ord">
        <pc:chgData name="Gao, Tianyun (SI BP FDO CON PROD)" userId="25b3c3cc-5a46-4d03-a516-a1293833cff3" providerId="ADAL" clId="{D28EE0E3-3F55-4F2A-8875-B92F1E1CCF13}" dt="2021-04-01T09:11:56.557" v="1266" actId="20578"/>
        <pc:sldMkLst>
          <pc:docMk/>
          <pc:sldMk cId="1721004004" sldId="1027"/>
        </pc:sldMkLst>
      </pc:sldChg>
      <pc:sldChg chg="ord">
        <pc:chgData name="Gao, Tianyun (SI BP FDO CON PROD)" userId="25b3c3cc-5a46-4d03-a516-a1293833cff3" providerId="ADAL" clId="{D28EE0E3-3F55-4F2A-8875-B92F1E1CCF13}" dt="2021-04-01T09:11:56.557" v="1266" actId="20578"/>
        <pc:sldMkLst>
          <pc:docMk/>
          <pc:sldMk cId="2638777451" sldId="2409"/>
        </pc:sldMkLst>
      </pc:sldChg>
      <pc:sldChg chg="ord">
        <pc:chgData name="Gao, Tianyun (SI BP FDO CON PROD)" userId="25b3c3cc-5a46-4d03-a516-a1293833cff3" providerId="ADAL" clId="{D28EE0E3-3F55-4F2A-8875-B92F1E1CCF13}" dt="2021-04-01T09:11:56.557" v="1266" actId="20578"/>
        <pc:sldMkLst>
          <pc:docMk/>
          <pc:sldMk cId="3111055162" sldId="2410"/>
        </pc:sldMkLst>
      </pc:sldChg>
      <pc:sldChg chg="ord">
        <pc:chgData name="Gao, Tianyun (SI BP FDO CON PROD)" userId="25b3c3cc-5a46-4d03-a516-a1293833cff3" providerId="ADAL" clId="{D28EE0E3-3F55-4F2A-8875-B92F1E1CCF13}" dt="2021-04-01T09:11:56.557" v="1266" actId="20578"/>
        <pc:sldMkLst>
          <pc:docMk/>
          <pc:sldMk cId="2857005650" sldId="2450"/>
        </pc:sldMkLst>
      </pc:sldChg>
      <pc:sldChg chg="addSp delSp modSp mod delAnim modAnim">
        <pc:chgData name="Gao, Tianyun (SI BP FDO CON PROD)" userId="25b3c3cc-5a46-4d03-a516-a1293833cff3" providerId="ADAL" clId="{D28EE0E3-3F55-4F2A-8875-B92F1E1CCF13}" dt="2021-03-24T10:50:19.915" v="5" actId="478"/>
        <pc:sldMkLst>
          <pc:docMk/>
          <pc:sldMk cId="3076480418" sldId="2541"/>
        </pc:sldMkLst>
        <pc:picChg chg="del">
          <ac:chgData name="Gao, Tianyun (SI BP FDO CON PROD)" userId="25b3c3cc-5a46-4d03-a516-a1293833cff3" providerId="ADAL" clId="{D28EE0E3-3F55-4F2A-8875-B92F1E1CCF13}" dt="2021-03-24T10:49:36.793" v="0" actId="478"/>
          <ac:picMkLst>
            <pc:docMk/>
            <pc:sldMk cId="3076480418" sldId="2541"/>
            <ac:picMk id="5" creationId="{DC39C27E-BDD5-45B2-9955-62DAAFC99DDF}"/>
          </ac:picMkLst>
        </pc:picChg>
        <pc:picChg chg="add del mod">
          <ac:chgData name="Gao, Tianyun (SI BP FDO CON PROD)" userId="25b3c3cc-5a46-4d03-a516-a1293833cff3" providerId="ADAL" clId="{D28EE0E3-3F55-4F2A-8875-B92F1E1CCF13}" dt="2021-03-24T10:50:19.915" v="5" actId="478"/>
          <ac:picMkLst>
            <pc:docMk/>
            <pc:sldMk cId="3076480418" sldId="2541"/>
            <ac:picMk id="8" creationId="{93219C9D-AB22-49C0-83B3-744EB2E7948E}"/>
          </ac:picMkLst>
        </pc:picChg>
      </pc:sldChg>
      <pc:sldChg chg="modSp mod">
        <pc:chgData name="Gao, Tianyun (SI BP FDO CON PROD)" userId="25b3c3cc-5a46-4d03-a516-a1293833cff3" providerId="ADAL" clId="{D28EE0E3-3F55-4F2A-8875-B92F1E1CCF13}" dt="2021-03-24T21:16:38.151" v="7" actId="20577"/>
        <pc:sldMkLst>
          <pc:docMk/>
          <pc:sldMk cId="3026962512" sldId="2566"/>
        </pc:sldMkLst>
        <pc:graphicFrameChg chg="modGraphic">
          <ac:chgData name="Gao, Tianyun (SI BP FDO CON PROD)" userId="25b3c3cc-5a46-4d03-a516-a1293833cff3" providerId="ADAL" clId="{D28EE0E3-3F55-4F2A-8875-B92F1E1CCF13}" dt="2021-03-24T21:16:38.151" v="7" actId="20577"/>
          <ac:graphicFrameMkLst>
            <pc:docMk/>
            <pc:sldMk cId="3026962512" sldId="2566"/>
            <ac:graphicFrameMk id="492" creationId="{C2AC56A2-ED59-4B03-BC8F-7FFC860B2B3D}"/>
          </ac:graphicFrameMkLst>
        </pc:graphicFrameChg>
      </pc:sldChg>
      <pc:sldChg chg="mod ord modShow">
        <pc:chgData name="Gao, Tianyun (SI BP FDO CON PROD)" userId="25b3c3cc-5a46-4d03-a516-a1293833cff3" providerId="ADAL" clId="{D28EE0E3-3F55-4F2A-8875-B92F1E1CCF13}" dt="2021-03-25T14:03:44.261" v="533" actId="729"/>
        <pc:sldMkLst>
          <pc:docMk/>
          <pc:sldMk cId="1162615204" sldId="2568"/>
        </pc:sldMkLst>
      </pc:sldChg>
      <pc:sldChg chg="addSp delSp modSp add mod">
        <pc:chgData name="Gao, Tianyun (SI BP FDO CON PROD)" userId="25b3c3cc-5a46-4d03-a516-a1293833cff3" providerId="ADAL" clId="{D28EE0E3-3F55-4F2A-8875-B92F1E1CCF13}" dt="2021-03-25T15:07:55.171" v="1260" actId="1076"/>
        <pc:sldMkLst>
          <pc:docMk/>
          <pc:sldMk cId="2878704115" sldId="2569"/>
        </pc:sldMkLst>
        <pc:spChg chg="del">
          <ac:chgData name="Gao, Tianyun (SI BP FDO CON PROD)" userId="25b3c3cc-5a46-4d03-a516-a1293833cff3" providerId="ADAL" clId="{D28EE0E3-3F55-4F2A-8875-B92F1E1CCF13}" dt="2021-03-25T12:50:22.338" v="40" actId="478"/>
          <ac:spMkLst>
            <pc:docMk/>
            <pc:sldMk cId="2878704115" sldId="2569"/>
            <ac:spMk id="2" creationId="{EF4B4D07-836E-4BA9-A34D-C48B253D0D06}"/>
          </ac:spMkLst>
        </pc:spChg>
        <pc:spChg chg="add mod">
          <ac:chgData name="Gao, Tianyun (SI BP FDO CON PROD)" userId="25b3c3cc-5a46-4d03-a516-a1293833cff3" providerId="ADAL" clId="{D28EE0E3-3F55-4F2A-8875-B92F1E1CCF13}" dt="2021-03-25T15:04:47.907" v="1236" actId="14100"/>
          <ac:spMkLst>
            <pc:docMk/>
            <pc:sldMk cId="2878704115" sldId="2569"/>
            <ac:spMk id="6" creationId="{E6E0A987-D2C2-4D3F-B74B-70668912FB50}"/>
          </ac:spMkLst>
        </pc:spChg>
        <pc:spChg chg="mod">
          <ac:chgData name="Gao, Tianyun (SI BP FDO CON PROD)" userId="25b3c3cc-5a46-4d03-a516-a1293833cff3" providerId="ADAL" clId="{D28EE0E3-3F55-4F2A-8875-B92F1E1CCF13}" dt="2021-03-25T12:50:20.235" v="39" actId="20577"/>
          <ac:spMkLst>
            <pc:docMk/>
            <pc:sldMk cId="2878704115" sldId="2569"/>
            <ac:spMk id="41" creationId="{ABACFB30-994A-4B20-8B0F-D485865264A8}"/>
          </ac:spMkLst>
        </pc:spChg>
        <pc:graphicFrameChg chg="del">
          <ac:chgData name="Gao, Tianyun (SI BP FDO CON PROD)" userId="25b3c3cc-5a46-4d03-a516-a1293833cff3" providerId="ADAL" clId="{D28EE0E3-3F55-4F2A-8875-B92F1E1CCF13}" dt="2021-03-25T12:50:25.091" v="41" actId="478"/>
          <ac:graphicFrameMkLst>
            <pc:docMk/>
            <pc:sldMk cId="2878704115" sldId="2569"/>
            <ac:graphicFrameMk id="3" creationId="{BF320831-E879-4E6A-810B-F485D5F4329F}"/>
          </ac:graphicFrameMkLst>
        </pc:graphicFrameChg>
        <pc:picChg chg="add mod">
          <ac:chgData name="Gao, Tianyun (SI BP FDO CON PROD)" userId="25b3c3cc-5a46-4d03-a516-a1293833cff3" providerId="ADAL" clId="{D28EE0E3-3F55-4F2A-8875-B92F1E1CCF13}" dt="2021-03-25T15:07:53.204" v="1259" actId="1076"/>
          <ac:picMkLst>
            <pc:docMk/>
            <pc:sldMk cId="2878704115" sldId="2569"/>
            <ac:picMk id="7" creationId="{D118218E-93A1-4D23-9B1E-C07DC15E2DBE}"/>
          </ac:picMkLst>
        </pc:picChg>
        <pc:picChg chg="add mod">
          <ac:chgData name="Gao, Tianyun (SI BP FDO CON PROD)" userId="25b3c3cc-5a46-4d03-a516-a1293833cff3" providerId="ADAL" clId="{D28EE0E3-3F55-4F2A-8875-B92F1E1CCF13}" dt="2021-03-25T15:07:55.171" v="1260" actId="1076"/>
          <ac:picMkLst>
            <pc:docMk/>
            <pc:sldMk cId="2878704115" sldId="2569"/>
            <ac:picMk id="8" creationId="{791F2D82-A7EF-49EC-8A8A-1C97AF8EF4BB}"/>
          </ac:picMkLst>
        </pc:picChg>
        <pc:picChg chg="add mod">
          <ac:chgData name="Gao, Tianyun (SI BP FDO CON PROD)" userId="25b3c3cc-5a46-4d03-a516-a1293833cff3" providerId="ADAL" clId="{D28EE0E3-3F55-4F2A-8875-B92F1E1CCF13}" dt="2021-03-25T15:07:41.054" v="1253" actId="1076"/>
          <ac:picMkLst>
            <pc:docMk/>
            <pc:sldMk cId="2878704115" sldId="2569"/>
            <ac:picMk id="9" creationId="{813DCB22-AE36-4FED-9DD6-029154B98DE2}"/>
          </ac:picMkLst>
        </pc:picChg>
      </pc:sldChg>
    </pc:docChg>
  </pc:docChgLst>
  <pc:docChgLst>
    <pc:chgData name="Müller, Kurt (SI BP S TSS ACD)" userId="e7e82c7e-80c6-42a5-ab71-24588885b7fe" providerId="ADAL" clId="{F6700264-7274-4DC9-BB6D-55AE9BA47D9A}"/>
    <pc:docChg chg="undo redo custSel addSld delSld modSld sldOrd modMainMaster">
      <pc:chgData name="Müller, Kurt (SI BP S TSS ACD)" userId="e7e82c7e-80c6-42a5-ab71-24588885b7fe" providerId="ADAL" clId="{F6700264-7274-4DC9-BB6D-55AE9BA47D9A}" dt="2021-11-25T20:41:53.618" v="3970" actId="207"/>
      <pc:docMkLst>
        <pc:docMk/>
      </pc:docMkLst>
      <pc:sldChg chg="addSp delSp modSp mod ord modAnim">
        <pc:chgData name="Müller, Kurt (SI BP S TSS ACD)" userId="e7e82c7e-80c6-42a5-ab71-24588885b7fe" providerId="ADAL" clId="{F6700264-7274-4DC9-BB6D-55AE9BA47D9A}" dt="2021-11-19T08:10:33.050" v="3357" actId="21"/>
        <pc:sldMkLst>
          <pc:docMk/>
          <pc:sldMk cId="3220879553" sldId="509"/>
        </pc:sldMkLst>
        <pc:spChg chg="add mod">
          <ac:chgData name="Müller, Kurt (SI BP S TSS ACD)" userId="e7e82c7e-80c6-42a5-ab71-24588885b7fe" providerId="ADAL" clId="{F6700264-7274-4DC9-BB6D-55AE9BA47D9A}" dt="2021-11-19T08:10:29.897" v="3356"/>
          <ac:spMkLst>
            <pc:docMk/>
            <pc:sldMk cId="3220879553" sldId="509"/>
            <ac:spMk id="6" creationId="{8EC7C526-26C7-4906-96D4-34CA23EBAA16}"/>
          </ac:spMkLst>
        </pc:spChg>
        <pc:spChg chg="del mod">
          <ac:chgData name="Müller, Kurt (SI BP S TSS ACD)" userId="e7e82c7e-80c6-42a5-ab71-24588885b7fe" providerId="ADAL" clId="{F6700264-7274-4DC9-BB6D-55AE9BA47D9A}" dt="2021-11-17T15:26:32.363" v="1319" actId="478"/>
          <ac:spMkLst>
            <pc:docMk/>
            <pc:sldMk cId="3220879553" sldId="509"/>
            <ac:spMk id="7" creationId="{A7DD355B-1CCA-4152-B861-77D7474104B2}"/>
          </ac:spMkLst>
        </pc:spChg>
        <pc:spChg chg="mod">
          <ac:chgData name="Müller, Kurt (SI BP S TSS ACD)" userId="e7e82c7e-80c6-42a5-ab71-24588885b7fe" providerId="ADAL" clId="{F6700264-7274-4DC9-BB6D-55AE9BA47D9A}" dt="2021-11-17T15:46:16.824" v="1733" actId="20577"/>
          <ac:spMkLst>
            <pc:docMk/>
            <pc:sldMk cId="3220879553" sldId="509"/>
            <ac:spMk id="8" creationId="{2714153C-2224-4138-AB37-41749B14D4D8}"/>
          </ac:spMkLst>
        </pc:spChg>
        <pc:spChg chg="mod">
          <ac:chgData name="Müller, Kurt (SI BP S TSS ACD)" userId="e7e82c7e-80c6-42a5-ab71-24588885b7fe" providerId="ADAL" clId="{F6700264-7274-4DC9-BB6D-55AE9BA47D9A}" dt="2021-11-18T07:59:53.625" v="2335" actId="20577"/>
          <ac:spMkLst>
            <pc:docMk/>
            <pc:sldMk cId="3220879553" sldId="509"/>
            <ac:spMk id="9" creationId="{DD62A5EB-23BE-436B-8C12-F071E0032732}"/>
          </ac:spMkLst>
        </pc:spChg>
        <pc:spChg chg="del mod">
          <ac:chgData name="Müller, Kurt (SI BP S TSS ACD)" userId="e7e82c7e-80c6-42a5-ab71-24588885b7fe" providerId="ADAL" clId="{F6700264-7274-4DC9-BB6D-55AE9BA47D9A}" dt="2021-11-19T08:10:33.050" v="3357" actId="21"/>
          <ac:spMkLst>
            <pc:docMk/>
            <pc:sldMk cId="3220879553" sldId="509"/>
            <ac:spMk id="10" creationId="{D57FBB36-1343-4FF9-8ED3-F0CEEDCFA03C}"/>
          </ac:spMkLst>
        </pc:spChg>
        <pc:spChg chg="del">
          <ac:chgData name="Müller, Kurt (SI BP S TSS ACD)" userId="e7e82c7e-80c6-42a5-ab71-24588885b7fe" providerId="ADAL" clId="{F6700264-7274-4DC9-BB6D-55AE9BA47D9A}" dt="2021-11-17T15:10:37.051" v="909" actId="478"/>
          <ac:spMkLst>
            <pc:docMk/>
            <pc:sldMk cId="3220879553" sldId="509"/>
            <ac:spMk id="11" creationId="{EF067F3A-F0C1-4E60-974D-8AF14765AB51}"/>
          </ac:spMkLst>
        </pc:spChg>
        <pc:spChg chg="del mod">
          <ac:chgData name="Müller, Kurt (SI BP S TSS ACD)" userId="e7e82c7e-80c6-42a5-ab71-24588885b7fe" providerId="ADAL" clId="{F6700264-7274-4DC9-BB6D-55AE9BA47D9A}" dt="2021-11-17T15:26:30.348" v="1318" actId="478"/>
          <ac:spMkLst>
            <pc:docMk/>
            <pc:sldMk cId="3220879553" sldId="509"/>
            <ac:spMk id="12" creationId="{A6670205-5A1B-4D5F-AC92-0C6BD2B9E72A}"/>
          </ac:spMkLst>
        </pc:spChg>
        <pc:spChg chg="del mod">
          <ac:chgData name="Müller, Kurt (SI BP S TSS ACD)" userId="e7e82c7e-80c6-42a5-ab71-24588885b7fe" providerId="ADAL" clId="{F6700264-7274-4DC9-BB6D-55AE9BA47D9A}" dt="2021-11-17T15:36:17.365" v="1623" actId="478"/>
          <ac:spMkLst>
            <pc:docMk/>
            <pc:sldMk cId="3220879553" sldId="509"/>
            <ac:spMk id="13" creationId="{A56AB44A-5CD3-487E-B2C5-A0B31801E708}"/>
          </ac:spMkLst>
        </pc:spChg>
        <pc:spChg chg="del">
          <ac:chgData name="Müller, Kurt (SI BP S TSS ACD)" userId="e7e82c7e-80c6-42a5-ab71-24588885b7fe" providerId="ADAL" clId="{F6700264-7274-4DC9-BB6D-55AE9BA47D9A}" dt="2021-11-17T15:16:55.428" v="1004" actId="478"/>
          <ac:spMkLst>
            <pc:docMk/>
            <pc:sldMk cId="3220879553" sldId="509"/>
            <ac:spMk id="14" creationId="{E02135E8-B0D9-477B-89CF-910E4F666A26}"/>
          </ac:spMkLst>
        </pc:spChg>
        <pc:spChg chg="del">
          <ac:chgData name="Müller, Kurt (SI BP S TSS ACD)" userId="e7e82c7e-80c6-42a5-ab71-24588885b7fe" providerId="ADAL" clId="{F6700264-7274-4DC9-BB6D-55AE9BA47D9A}" dt="2021-11-17T15:03:46.974" v="749" actId="478"/>
          <ac:spMkLst>
            <pc:docMk/>
            <pc:sldMk cId="3220879553" sldId="509"/>
            <ac:spMk id="15" creationId="{DF667979-B71E-4D0D-BE76-92B48FCDF7DF}"/>
          </ac:spMkLst>
        </pc:spChg>
        <pc:spChg chg="del">
          <ac:chgData name="Müller, Kurt (SI BP S TSS ACD)" userId="e7e82c7e-80c6-42a5-ab71-24588885b7fe" providerId="ADAL" clId="{F6700264-7274-4DC9-BB6D-55AE9BA47D9A}" dt="2021-11-17T15:17:22.160" v="1013" actId="478"/>
          <ac:spMkLst>
            <pc:docMk/>
            <pc:sldMk cId="3220879553" sldId="509"/>
            <ac:spMk id="16" creationId="{EAA3D7A5-E639-40D4-B36F-81CC3C6CA64E}"/>
          </ac:spMkLst>
        </pc:spChg>
        <pc:spChg chg="add del mod">
          <ac:chgData name="Müller, Kurt (SI BP S TSS ACD)" userId="e7e82c7e-80c6-42a5-ab71-24588885b7fe" providerId="ADAL" clId="{F6700264-7274-4DC9-BB6D-55AE9BA47D9A}" dt="2021-11-17T15:36:10.161" v="1622" actId="478"/>
          <ac:spMkLst>
            <pc:docMk/>
            <pc:sldMk cId="3220879553" sldId="509"/>
            <ac:spMk id="18" creationId="{3029BF5A-4CB6-40BD-BD90-A628A6F46FD0}"/>
          </ac:spMkLst>
        </pc:spChg>
        <pc:spChg chg="add del mod">
          <ac:chgData name="Müller, Kurt (SI BP S TSS ACD)" userId="e7e82c7e-80c6-42a5-ab71-24588885b7fe" providerId="ADAL" clId="{F6700264-7274-4DC9-BB6D-55AE9BA47D9A}" dt="2021-11-17T15:36:17.365" v="1623" actId="478"/>
          <ac:spMkLst>
            <pc:docMk/>
            <pc:sldMk cId="3220879553" sldId="509"/>
            <ac:spMk id="19" creationId="{D29C03AF-62AE-47B0-94ED-CDF21E770061}"/>
          </ac:spMkLst>
        </pc:spChg>
        <pc:spChg chg="add mod">
          <ac:chgData name="Müller, Kurt (SI BP S TSS ACD)" userId="e7e82c7e-80c6-42a5-ab71-24588885b7fe" providerId="ADAL" clId="{F6700264-7274-4DC9-BB6D-55AE9BA47D9A}" dt="2021-11-18T08:01:44.327" v="2342" actId="20577"/>
          <ac:spMkLst>
            <pc:docMk/>
            <pc:sldMk cId="3220879553" sldId="509"/>
            <ac:spMk id="20" creationId="{283B7DF6-F14F-487E-A71A-5CFBB31832CE}"/>
          </ac:spMkLst>
        </pc:spChg>
        <pc:spChg chg="del mod">
          <ac:chgData name="Müller, Kurt (SI BP S TSS ACD)" userId="e7e82c7e-80c6-42a5-ab71-24588885b7fe" providerId="ADAL" clId="{F6700264-7274-4DC9-BB6D-55AE9BA47D9A}" dt="2021-11-17T15:36:17.365" v="1623" actId="478"/>
          <ac:spMkLst>
            <pc:docMk/>
            <pc:sldMk cId="3220879553" sldId="509"/>
            <ac:spMk id="9222" creationId="{59304753-3D28-4631-BD0E-7DBF8A1EA6E1}"/>
          </ac:spMkLst>
        </pc:spChg>
        <pc:picChg chg="add del mod">
          <ac:chgData name="Müller, Kurt (SI BP S TSS ACD)" userId="e7e82c7e-80c6-42a5-ab71-24588885b7fe" providerId="ADAL" clId="{F6700264-7274-4DC9-BB6D-55AE9BA47D9A}" dt="2021-11-17T15:16:51.175" v="1002" actId="478"/>
          <ac:picMkLst>
            <pc:docMk/>
            <pc:sldMk cId="3220879553" sldId="509"/>
            <ac:picMk id="17" creationId="{BE6C5A57-E7AD-41F7-9519-56013142B776}"/>
          </ac:picMkLst>
        </pc:picChg>
        <pc:picChg chg="add del mod">
          <ac:chgData name="Müller, Kurt (SI BP S TSS ACD)" userId="e7e82c7e-80c6-42a5-ab71-24588885b7fe" providerId="ADAL" clId="{F6700264-7274-4DC9-BB6D-55AE9BA47D9A}" dt="2021-11-17T15:37:14.456" v="1705" actId="478"/>
          <ac:picMkLst>
            <pc:docMk/>
            <pc:sldMk cId="3220879553" sldId="509"/>
            <ac:picMk id="1026" creationId="{52398DAC-A156-417A-89CC-22CD6F46DF0F}"/>
          </ac:picMkLst>
        </pc:picChg>
        <pc:picChg chg="del mod">
          <ac:chgData name="Müller, Kurt (SI BP S TSS ACD)" userId="e7e82c7e-80c6-42a5-ab71-24588885b7fe" providerId="ADAL" clId="{F6700264-7274-4DC9-BB6D-55AE9BA47D9A}" dt="2021-11-17T15:17:19.154" v="1012" actId="478"/>
          <ac:picMkLst>
            <pc:docMk/>
            <pc:sldMk cId="3220879553" sldId="509"/>
            <ac:picMk id="9223" creationId="{291300C2-A3BF-46DD-AA4C-B4024AB60D28}"/>
          </ac:picMkLst>
        </pc:picChg>
      </pc:sldChg>
      <pc:sldChg chg="add del">
        <pc:chgData name="Müller, Kurt (SI BP S TSS ACD)" userId="e7e82c7e-80c6-42a5-ab71-24588885b7fe" providerId="ADAL" clId="{F6700264-7274-4DC9-BB6D-55AE9BA47D9A}" dt="2021-11-17T15:40:53.304" v="1712" actId="2696"/>
        <pc:sldMkLst>
          <pc:docMk/>
          <pc:sldMk cId="326722355" sldId="512"/>
        </pc:sldMkLst>
      </pc:sldChg>
      <pc:sldChg chg="addSp delSp modSp del mod ord">
        <pc:chgData name="Müller, Kurt (SI BP S TSS ACD)" userId="e7e82c7e-80c6-42a5-ab71-24588885b7fe" providerId="ADAL" clId="{F6700264-7274-4DC9-BB6D-55AE9BA47D9A}" dt="2021-11-17T15:40:34.505" v="1710" actId="2696"/>
        <pc:sldMkLst>
          <pc:docMk/>
          <pc:sldMk cId="2351967476" sldId="512"/>
        </pc:sldMkLst>
        <pc:spChg chg="mod">
          <ac:chgData name="Müller, Kurt (SI BP S TSS ACD)" userId="e7e82c7e-80c6-42a5-ab71-24588885b7fe" providerId="ADAL" clId="{F6700264-7274-4DC9-BB6D-55AE9BA47D9A}" dt="2021-11-17T11:02:12.436" v="601" actId="255"/>
          <ac:spMkLst>
            <pc:docMk/>
            <pc:sldMk cId="2351967476" sldId="512"/>
            <ac:spMk id="14" creationId="{289C428F-003C-4184-B43A-68E042120FEA}"/>
          </ac:spMkLst>
        </pc:spChg>
        <pc:spChg chg="mod">
          <ac:chgData name="Müller, Kurt (SI BP S TSS ACD)" userId="e7e82c7e-80c6-42a5-ab71-24588885b7fe" providerId="ADAL" clId="{F6700264-7274-4DC9-BB6D-55AE9BA47D9A}" dt="2021-11-17T11:02:12.436" v="601" actId="255"/>
          <ac:spMkLst>
            <pc:docMk/>
            <pc:sldMk cId="2351967476" sldId="512"/>
            <ac:spMk id="17" creationId="{81AA1B4F-28D1-4E84-AB99-D7E940F9C309}"/>
          </ac:spMkLst>
        </pc:spChg>
        <pc:spChg chg="mod">
          <ac:chgData name="Müller, Kurt (SI BP S TSS ACD)" userId="e7e82c7e-80c6-42a5-ab71-24588885b7fe" providerId="ADAL" clId="{F6700264-7274-4DC9-BB6D-55AE9BA47D9A}" dt="2021-11-17T11:02:12.436" v="601" actId="255"/>
          <ac:spMkLst>
            <pc:docMk/>
            <pc:sldMk cId="2351967476" sldId="512"/>
            <ac:spMk id="18" creationId="{558C5EAB-D0E9-410B-9B41-4EC65DBC2E25}"/>
          </ac:spMkLst>
        </pc:spChg>
        <pc:spChg chg="mod">
          <ac:chgData name="Müller, Kurt (SI BP S TSS ACD)" userId="e7e82c7e-80c6-42a5-ab71-24588885b7fe" providerId="ADAL" clId="{F6700264-7274-4DC9-BB6D-55AE9BA47D9A}" dt="2021-11-17T11:02:12.436" v="601" actId="255"/>
          <ac:spMkLst>
            <pc:docMk/>
            <pc:sldMk cId="2351967476" sldId="512"/>
            <ac:spMk id="19" creationId="{12CB17AE-E215-4DE7-9D1C-7FCD8AF3F9D8}"/>
          </ac:spMkLst>
        </pc:spChg>
        <pc:spChg chg="mod">
          <ac:chgData name="Müller, Kurt (SI BP S TSS ACD)" userId="e7e82c7e-80c6-42a5-ab71-24588885b7fe" providerId="ADAL" clId="{F6700264-7274-4DC9-BB6D-55AE9BA47D9A}" dt="2021-11-17T11:02:12.436" v="601" actId="255"/>
          <ac:spMkLst>
            <pc:docMk/>
            <pc:sldMk cId="2351967476" sldId="512"/>
            <ac:spMk id="20" creationId="{2D61A931-55BA-42CF-AE2A-643635A8CE7B}"/>
          </ac:spMkLst>
        </pc:spChg>
        <pc:spChg chg="mod">
          <ac:chgData name="Müller, Kurt (SI BP S TSS ACD)" userId="e7e82c7e-80c6-42a5-ab71-24588885b7fe" providerId="ADAL" clId="{F6700264-7274-4DC9-BB6D-55AE9BA47D9A}" dt="2021-11-17T11:02:12.436" v="601" actId="255"/>
          <ac:spMkLst>
            <pc:docMk/>
            <pc:sldMk cId="2351967476" sldId="512"/>
            <ac:spMk id="25" creationId="{85C10D85-991F-48E9-A6D9-C77C0F5AC1F5}"/>
          </ac:spMkLst>
        </pc:spChg>
        <pc:spChg chg="mod">
          <ac:chgData name="Müller, Kurt (SI BP S TSS ACD)" userId="e7e82c7e-80c6-42a5-ab71-24588885b7fe" providerId="ADAL" clId="{F6700264-7274-4DC9-BB6D-55AE9BA47D9A}" dt="2021-11-17T11:02:12.436" v="601" actId="255"/>
          <ac:spMkLst>
            <pc:docMk/>
            <pc:sldMk cId="2351967476" sldId="512"/>
            <ac:spMk id="29" creationId="{404B35CD-26BF-486B-910E-78963F419FA4}"/>
          </ac:spMkLst>
        </pc:spChg>
        <pc:spChg chg="mod">
          <ac:chgData name="Müller, Kurt (SI BP S TSS ACD)" userId="e7e82c7e-80c6-42a5-ab71-24588885b7fe" providerId="ADAL" clId="{F6700264-7274-4DC9-BB6D-55AE9BA47D9A}" dt="2021-11-17T11:02:12.436" v="601" actId="255"/>
          <ac:spMkLst>
            <pc:docMk/>
            <pc:sldMk cId="2351967476" sldId="512"/>
            <ac:spMk id="33" creationId="{8D4B4441-2F1A-4CF3-B991-E4E6D37C45C2}"/>
          </ac:spMkLst>
        </pc:spChg>
        <pc:spChg chg="mod">
          <ac:chgData name="Müller, Kurt (SI BP S TSS ACD)" userId="e7e82c7e-80c6-42a5-ab71-24588885b7fe" providerId="ADAL" clId="{F6700264-7274-4DC9-BB6D-55AE9BA47D9A}" dt="2021-11-17T11:02:17.702" v="602" actId="2711"/>
          <ac:spMkLst>
            <pc:docMk/>
            <pc:sldMk cId="2351967476" sldId="512"/>
            <ac:spMk id="36" creationId="{F7673C93-25F4-4520-A30E-F2EE1ADBAC9E}"/>
          </ac:spMkLst>
        </pc:spChg>
        <pc:spChg chg="del">
          <ac:chgData name="Müller, Kurt (SI BP S TSS ACD)" userId="e7e82c7e-80c6-42a5-ab71-24588885b7fe" providerId="ADAL" clId="{F6700264-7274-4DC9-BB6D-55AE9BA47D9A}" dt="2021-11-17T11:00:42.653" v="589" actId="478"/>
          <ac:spMkLst>
            <pc:docMk/>
            <pc:sldMk cId="2351967476" sldId="512"/>
            <ac:spMk id="37" creationId="{990FCA0A-6A9D-4E29-94A2-1D0906E7487E}"/>
          </ac:spMkLst>
        </pc:spChg>
        <pc:spChg chg="mod">
          <ac:chgData name="Müller, Kurt (SI BP S TSS ACD)" userId="e7e82c7e-80c6-42a5-ab71-24588885b7fe" providerId="ADAL" clId="{F6700264-7274-4DC9-BB6D-55AE9BA47D9A}" dt="2021-11-17T11:02:17.702" v="602" actId="2711"/>
          <ac:spMkLst>
            <pc:docMk/>
            <pc:sldMk cId="2351967476" sldId="512"/>
            <ac:spMk id="38" creationId="{E8743FB4-02C8-4D79-8B25-0570B1072650}"/>
          </ac:spMkLst>
        </pc:spChg>
        <pc:spChg chg="del">
          <ac:chgData name="Müller, Kurt (SI BP S TSS ACD)" userId="e7e82c7e-80c6-42a5-ab71-24588885b7fe" providerId="ADAL" clId="{F6700264-7274-4DC9-BB6D-55AE9BA47D9A}" dt="2021-11-17T11:00:41.845" v="588" actId="478"/>
          <ac:spMkLst>
            <pc:docMk/>
            <pc:sldMk cId="2351967476" sldId="512"/>
            <ac:spMk id="39" creationId="{EC3C7D86-84E6-40DA-A377-F2B980C59670}"/>
          </ac:spMkLst>
        </pc:spChg>
        <pc:spChg chg="del">
          <ac:chgData name="Müller, Kurt (SI BP S TSS ACD)" userId="e7e82c7e-80c6-42a5-ab71-24588885b7fe" providerId="ADAL" clId="{F6700264-7274-4DC9-BB6D-55AE9BA47D9A}" dt="2021-11-17T11:00:38.647" v="587" actId="478"/>
          <ac:spMkLst>
            <pc:docMk/>
            <pc:sldMk cId="2351967476" sldId="512"/>
            <ac:spMk id="40" creationId="{4A37B017-D3A3-4019-828F-ED1C233A716B}"/>
          </ac:spMkLst>
        </pc:spChg>
        <pc:spChg chg="mod">
          <ac:chgData name="Müller, Kurt (SI BP S TSS ACD)" userId="e7e82c7e-80c6-42a5-ab71-24588885b7fe" providerId="ADAL" clId="{F6700264-7274-4DC9-BB6D-55AE9BA47D9A}" dt="2021-11-17T11:02:12.436" v="601" actId="255"/>
          <ac:spMkLst>
            <pc:docMk/>
            <pc:sldMk cId="2351967476" sldId="512"/>
            <ac:spMk id="43" creationId="{B3932AE1-B756-49A8-91CD-7796CBFE0140}"/>
          </ac:spMkLst>
        </pc:spChg>
        <pc:spChg chg="mod">
          <ac:chgData name="Müller, Kurt (SI BP S TSS ACD)" userId="e7e82c7e-80c6-42a5-ab71-24588885b7fe" providerId="ADAL" clId="{F6700264-7274-4DC9-BB6D-55AE9BA47D9A}" dt="2021-11-17T11:02:12.436" v="601" actId="255"/>
          <ac:spMkLst>
            <pc:docMk/>
            <pc:sldMk cId="2351967476" sldId="512"/>
            <ac:spMk id="45" creationId="{3B2AAEA2-814F-4855-BCC3-60FC6755CA9F}"/>
          </ac:spMkLst>
        </pc:spChg>
        <pc:spChg chg="mod">
          <ac:chgData name="Müller, Kurt (SI BP S TSS ACD)" userId="e7e82c7e-80c6-42a5-ab71-24588885b7fe" providerId="ADAL" clId="{F6700264-7274-4DC9-BB6D-55AE9BA47D9A}" dt="2021-11-17T11:02:12.436" v="601" actId="255"/>
          <ac:spMkLst>
            <pc:docMk/>
            <pc:sldMk cId="2351967476" sldId="512"/>
            <ac:spMk id="48" creationId="{70F2AFDF-458F-4E28-9473-FB3C3287421C}"/>
          </ac:spMkLst>
        </pc:spChg>
        <pc:spChg chg="mod">
          <ac:chgData name="Müller, Kurt (SI BP S TSS ACD)" userId="e7e82c7e-80c6-42a5-ab71-24588885b7fe" providerId="ADAL" clId="{F6700264-7274-4DC9-BB6D-55AE9BA47D9A}" dt="2021-11-17T11:02:55.071" v="636" actId="20577"/>
          <ac:spMkLst>
            <pc:docMk/>
            <pc:sldMk cId="2351967476" sldId="512"/>
            <ac:spMk id="54" creationId="{747746DE-40CC-4B87-B3F3-107C129EA60D}"/>
          </ac:spMkLst>
        </pc:spChg>
        <pc:spChg chg="mod">
          <ac:chgData name="Müller, Kurt (SI BP S TSS ACD)" userId="e7e82c7e-80c6-42a5-ab71-24588885b7fe" providerId="ADAL" clId="{F6700264-7274-4DC9-BB6D-55AE9BA47D9A}" dt="2021-11-17T11:02:12.436" v="601" actId="255"/>
          <ac:spMkLst>
            <pc:docMk/>
            <pc:sldMk cId="2351967476" sldId="512"/>
            <ac:spMk id="58" creationId="{3591EF53-DEA4-4F1E-BC72-7FB039E2A8F7}"/>
          </ac:spMkLst>
        </pc:spChg>
        <pc:spChg chg="mod">
          <ac:chgData name="Müller, Kurt (SI BP S TSS ACD)" userId="e7e82c7e-80c6-42a5-ab71-24588885b7fe" providerId="ADAL" clId="{F6700264-7274-4DC9-BB6D-55AE9BA47D9A}" dt="2021-11-17T11:02:17.702" v="602" actId="2711"/>
          <ac:spMkLst>
            <pc:docMk/>
            <pc:sldMk cId="2351967476" sldId="512"/>
            <ac:spMk id="13315" creationId="{CBA15F05-AFC8-4D36-A623-FE015BB43397}"/>
          </ac:spMkLst>
        </pc:spChg>
        <pc:spChg chg="mod">
          <ac:chgData name="Müller, Kurt (SI BP S TSS ACD)" userId="e7e82c7e-80c6-42a5-ab71-24588885b7fe" providerId="ADAL" clId="{F6700264-7274-4DC9-BB6D-55AE9BA47D9A}" dt="2021-11-17T11:02:12.436" v="601" actId="255"/>
          <ac:spMkLst>
            <pc:docMk/>
            <pc:sldMk cId="2351967476" sldId="512"/>
            <ac:spMk id="13319" creationId="{AFA2324F-F0DA-4E6E-9565-6E1B08631645}"/>
          </ac:spMkLst>
        </pc:spChg>
        <pc:spChg chg="mod">
          <ac:chgData name="Müller, Kurt (SI BP S TSS ACD)" userId="e7e82c7e-80c6-42a5-ab71-24588885b7fe" providerId="ADAL" clId="{F6700264-7274-4DC9-BB6D-55AE9BA47D9A}" dt="2021-11-17T11:02:12.436" v="601" actId="255"/>
          <ac:spMkLst>
            <pc:docMk/>
            <pc:sldMk cId="2351967476" sldId="512"/>
            <ac:spMk id="13321" creationId="{0001D85B-3F9A-46E0-82BE-FDA401D67348}"/>
          </ac:spMkLst>
        </pc:spChg>
        <pc:spChg chg="mod">
          <ac:chgData name="Müller, Kurt (SI BP S TSS ACD)" userId="e7e82c7e-80c6-42a5-ab71-24588885b7fe" providerId="ADAL" clId="{F6700264-7274-4DC9-BB6D-55AE9BA47D9A}" dt="2021-11-17T11:02:12.436" v="601" actId="255"/>
          <ac:spMkLst>
            <pc:docMk/>
            <pc:sldMk cId="2351967476" sldId="512"/>
            <ac:spMk id="13323" creationId="{C0DF8308-43F1-4D2D-A362-E38834E83914}"/>
          </ac:spMkLst>
        </pc:spChg>
        <pc:spChg chg="mod">
          <ac:chgData name="Müller, Kurt (SI BP S TSS ACD)" userId="e7e82c7e-80c6-42a5-ab71-24588885b7fe" providerId="ADAL" clId="{F6700264-7274-4DC9-BB6D-55AE9BA47D9A}" dt="2021-11-17T11:02:12.436" v="601" actId="255"/>
          <ac:spMkLst>
            <pc:docMk/>
            <pc:sldMk cId="2351967476" sldId="512"/>
            <ac:spMk id="13339" creationId="{88CBDA36-A0A5-4AE8-95CB-9272E1C7C9B9}"/>
          </ac:spMkLst>
        </pc:spChg>
        <pc:spChg chg="mod">
          <ac:chgData name="Müller, Kurt (SI BP S TSS ACD)" userId="e7e82c7e-80c6-42a5-ab71-24588885b7fe" providerId="ADAL" clId="{F6700264-7274-4DC9-BB6D-55AE9BA47D9A}" dt="2021-11-17T11:02:12.436" v="601" actId="255"/>
          <ac:spMkLst>
            <pc:docMk/>
            <pc:sldMk cId="2351967476" sldId="512"/>
            <ac:spMk id="13340" creationId="{7C76BEF1-9B40-4591-BAC7-A5320D5606EE}"/>
          </ac:spMkLst>
        </pc:spChg>
        <pc:spChg chg="mod">
          <ac:chgData name="Müller, Kurt (SI BP S TSS ACD)" userId="e7e82c7e-80c6-42a5-ab71-24588885b7fe" providerId="ADAL" clId="{F6700264-7274-4DC9-BB6D-55AE9BA47D9A}" dt="2021-11-17T11:02:12.436" v="601" actId="255"/>
          <ac:spMkLst>
            <pc:docMk/>
            <pc:sldMk cId="2351967476" sldId="512"/>
            <ac:spMk id="13341" creationId="{A7504253-4921-4BC8-82F8-F1C5F6B9827F}"/>
          </ac:spMkLst>
        </pc:spChg>
        <pc:spChg chg="mod">
          <ac:chgData name="Müller, Kurt (SI BP S TSS ACD)" userId="e7e82c7e-80c6-42a5-ab71-24588885b7fe" providerId="ADAL" clId="{F6700264-7274-4DC9-BB6D-55AE9BA47D9A}" dt="2021-11-17T11:02:12.436" v="601" actId="255"/>
          <ac:spMkLst>
            <pc:docMk/>
            <pc:sldMk cId="2351967476" sldId="512"/>
            <ac:spMk id="13347" creationId="{8871E070-7D4C-41BC-B2BC-FEFCBEAF1ED4}"/>
          </ac:spMkLst>
        </pc:spChg>
        <pc:grpChg chg="add mod">
          <ac:chgData name="Müller, Kurt (SI BP S TSS ACD)" userId="e7e82c7e-80c6-42a5-ab71-24588885b7fe" providerId="ADAL" clId="{F6700264-7274-4DC9-BB6D-55AE9BA47D9A}" dt="2021-11-17T11:02:17.702" v="602" actId="2711"/>
          <ac:grpSpMkLst>
            <pc:docMk/>
            <pc:sldMk cId="2351967476" sldId="512"/>
            <ac:grpSpMk id="2" creationId="{C3F62A4D-98C9-4DB1-B060-7D188640C526}"/>
          </ac:grpSpMkLst>
        </pc:grpChg>
        <pc:grpChg chg="mod">
          <ac:chgData name="Müller, Kurt (SI BP S TSS ACD)" userId="e7e82c7e-80c6-42a5-ab71-24588885b7fe" providerId="ADAL" clId="{F6700264-7274-4DC9-BB6D-55AE9BA47D9A}" dt="2021-11-17T11:02:12.436" v="601" actId="255"/>
          <ac:grpSpMkLst>
            <pc:docMk/>
            <pc:sldMk cId="2351967476" sldId="512"/>
            <ac:grpSpMk id="13318" creationId="{3B6A85AC-5F7E-4BE0-A2D3-6A3CEA91798F}"/>
          </ac:grpSpMkLst>
        </pc:grpChg>
        <pc:grpChg chg="mod">
          <ac:chgData name="Müller, Kurt (SI BP S TSS ACD)" userId="e7e82c7e-80c6-42a5-ab71-24588885b7fe" providerId="ADAL" clId="{F6700264-7274-4DC9-BB6D-55AE9BA47D9A}" dt="2021-11-17T11:02:12.436" v="601" actId="255"/>
          <ac:grpSpMkLst>
            <pc:docMk/>
            <pc:sldMk cId="2351967476" sldId="512"/>
            <ac:grpSpMk id="13320" creationId="{0ED644C4-7F74-425C-91A7-9D5281FDB6C9}"/>
          </ac:grpSpMkLst>
        </pc:grpChg>
        <pc:grpChg chg="mod">
          <ac:chgData name="Müller, Kurt (SI BP S TSS ACD)" userId="e7e82c7e-80c6-42a5-ab71-24588885b7fe" providerId="ADAL" clId="{F6700264-7274-4DC9-BB6D-55AE9BA47D9A}" dt="2021-11-17T11:02:12.436" v="601" actId="255"/>
          <ac:grpSpMkLst>
            <pc:docMk/>
            <pc:sldMk cId="2351967476" sldId="512"/>
            <ac:grpSpMk id="13333" creationId="{3182780E-DA9A-4C86-B406-202AAEAE1D32}"/>
          </ac:grpSpMkLst>
        </pc:grpChg>
        <pc:picChg chg="mod">
          <ac:chgData name="Müller, Kurt (SI BP S TSS ACD)" userId="e7e82c7e-80c6-42a5-ab71-24588885b7fe" providerId="ADAL" clId="{F6700264-7274-4DC9-BB6D-55AE9BA47D9A}" dt="2021-11-17T11:02:12.436" v="601" actId="255"/>
          <ac:picMkLst>
            <pc:docMk/>
            <pc:sldMk cId="2351967476" sldId="512"/>
            <ac:picMk id="13334" creationId="{82843852-6082-45C6-8F8F-75C6B99AD5B7}"/>
          </ac:picMkLst>
        </pc:picChg>
        <pc:cxnChg chg="mod">
          <ac:chgData name="Müller, Kurt (SI BP S TSS ACD)" userId="e7e82c7e-80c6-42a5-ab71-24588885b7fe" providerId="ADAL" clId="{F6700264-7274-4DC9-BB6D-55AE9BA47D9A}" dt="2021-11-17T11:02:12.436" v="601" actId="255"/>
          <ac:cxnSpMkLst>
            <pc:docMk/>
            <pc:sldMk cId="2351967476" sldId="512"/>
            <ac:cxnSpMk id="13326" creationId="{AD26F953-729B-4AE8-ADDB-70A52AC79A15}"/>
          </ac:cxnSpMkLst>
        </pc:cxnChg>
        <pc:cxnChg chg="mod">
          <ac:chgData name="Müller, Kurt (SI BP S TSS ACD)" userId="e7e82c7e-80c6-42a5-ab71-24588885b7fe" providerId="ADAL" clId="{F6700264-7274-4DC9-BB6D-55AE9BA47D9A}" dt="2021-11-17T11:02:12.436" v="601" actId="255"/>
          <ac:cxnSpMkLst>
            <pc:docMk/>
            <pc:sldMk cId="2351967476" sldId="512"/>
            <ac:cxnSpMk id="13328" creationId="{944F8D00-AA15-4AF6-9994-ECB474EEA3D6}"/>
          </ac:cxnSpMkLst>
        </pc:cxnChg>
        <pc:cxnChg chg="mod">
          <ac:chgData name="Müller, Kurt (SI BP S TSS ACD)" userId="e7e82c7e-80c6-42a5-ab71-24588885b7fe" providerId="ADAL" clId="{F6700264-7274-4DC9-BB6D-55AE9BA47D9A}" dt="2021-11-17T11:02:12.436" v="601" actId="255"/>
          <ac:cxnSpMkLst>
            <pc:docMk/>
            <pc:sldMk cId="2351967476" sldId="512"/>
            <ac:cxnSpMk id="13330" creationId="{4BDD37C4-75BA-4DC9-A59C-7A4AD15BF569}"/>
          </ac:cxnSpMkLst>
        </pc:cxnChg>
        <pc:cxnChg chg="mod">
          <ac:chgData name="Müller, Kurt (SI BP S TSS ACD)" userId="e7e82c7e-80c6-42a5-ab71-24588885b7fe" providerId="ADAL" clId="{F6700264-7274-4DC9-BB6D-55AE9BA47D9A}" dt="2021-11-17T11:02:12.436" v="601" actId="255"/>
          <ac:cxnSpMkLst>
            <pc:docMk/>
            <pc:sldMk cId="2351967476" sldId="512"/>
            <ac:cxnSpMk id="13335" creationId="{D577AD38-4EA8-4DBA-98E9-A7D2545C4544}"/>
          </ac:cxnSpMkLst>
        </pc:cxnChg>
        <pc:cxnChg chg="mod">
          <ac:chgData name="Müller, Kurt (SI BP S TSS ACD)" userId="e7e82c7e-80c6-42a5-ab71-24588885b7fe" providerId="ADAL" clId="{F6700264-7274-4DC9-BB6D-55AE9BA47D9A}" dt="2021-11-17T11:02:12.436" v="601" actId="255"/>
          <ac:cxnSpMkLst>
            <pc:docMk/>
            <pc:sldMk cId="2351967476" sldId="512"/>
            <ac:cxnSpMk id="13343" creationId="{D6B5EA03-990F-496B-9FC9-01512111AA2F}"/>
          </ac:cxnSpMkLst>
        </pc:cxnChg>
        <pc:cxnChg chg="mod">
          <ac:chgData name="Müller, Kurt (SI BP S TSS ACD)" userId="e7e82c7e-80c6-42a5-ab71-24588885b7fe" providerId="ADAL" clId="{F6700264-7274-4DC9-BB6D-55AE9BA47D9A}" dt="2021-11-17T11:02:12.436" v="601" actId="255"/>
          <ac:cxnSpMkLst>
            <pc:docMk/>
            <pc:sldMk cId="2351967476" sldId="512"/>
            <ac:cxnSpMk id="13345" creationId="{EF5666DA-C465-4E10-910A-FE7B9F30623B}"/>
          </ac:cxnSpMkLst>
        </pc:cxnChg>
      </pc:sldChg>
      <pc:sldChg chg="addSp delSp modSp add mod modShow">
        <pc:chgData name="Müller, Kurt (SI BP S TSS ACD)" userId="e7e82c7e-80c6-42a5-ab71-24588885b7fe" providerId="ADAL" clId="{F6700264-7274-4DC9-BB6D-55AE9BA47D9A}" dt="2021-11-19T08:11:09.566" v="3361" actId="478"/>
        <pc:sldMkLst>
          <pc:docMk/>
          <pc:sldMk cId="3938560735" sldId="512"/>
        </pc:sldMkLst>
        <pc:spChg chg="mod">
          <ac:chgData name="Müller, Kurt (SI BP S TSS ACD)" userId="e7e82c7e-80c6-42a5-ab71-24588885b7fe" providerId="ADAL" clId="{F6700264-7274-4DC9-BB6D-55AE9BA47D9A}" dt="2021-11-17T17:00:51.208" v="1876" actId="2711"/>
          <ac:spMkLst>
            <pc:docMk/>
            <pc:sldMk cId="3938560735" sldId="512"/>
            <ac:spMk id="36" creationId="{F7673C93-25F4-4520-A30E-F2EE1ADBAC9E}"/>
          </ac:spMkLst>
        </pc:spChg>
        <pc:spChg chg="add mod">
          <ac:chgData name="Müller, Kurt (SI BP S TSS ACD)" userId="e7e82c7e-80c6-42a5-ab71-24588885b7fe" providerId="ADAL" clId="{F6700264-7274-4DC9-BB6D-55AE9BA47D9A}" dt="2021-11-19T08:11:07.865" v="3360"/>
          <ac:spMkLst>
            <pc:docMk/>
            <pc:sldMk cId="3938560735" sldId="512"/>
            <ac:spMk id="37" creationId="{033ED0F8-4AED-42E6-BE44-F9C84CA756FA}"/>
          </ac:spMkLst>
        </pc:spChg>
        <pc:spChg chg="del">
          <ac:chgData name="Müller, Kurt (SI BP S TSS ACD)" userId="e7e82c7e-80c6-42a5-ab71-24588885b7fe" providerId="ADAL" clId="{F6700264-7274-4DC9-BB6D-55AE9BA47D9A}" dt="2021-11-19T08:11:09.566" v="3361" actId="478"/>
          <ac:spMkLst>
            <pc:docMk/>
            <pc:sldMk cId="3938560735" sldId="512"/>
            <ac:spMk id="38" creationId="{E8743FB4-02C8-4D79-8B25-0570B1072650}"/>
          </ac:spMkLst>
        </pc:spChg>
        <pc:spChg chg="mod">
          <ac:chgData name="Müller, Kurt (SI BP S TSS ACD)" userId="e7e82c7e-80c6-42a5-ab71-24588885b7fe" providerId="ADAL" clId="{F6700264-7274-4DC9-BB6D-55AE9BA47D9A}" dt="2021-11-17T15:41:32.545" v="1719" actId="6549"/>
          <ac:spMkLst>
            <pc:docMk/>
            <pc:sldMk cId="3938560735" sldId="512"/>
            <ac:spMk id="54" creationId="{747746DE-40CC-4B87-B3F3-107C129EA60D}"/>
          </ac:spMkLst>
        </pc:spChg>
      </pc:sldChg>
      <pc:sldChg chg="addSp delSp modSp mod modAnim">
        <pc:chgData name="Müller, Kurt (SI BP S TSS ACD)" userId="e7e82c7e-80c6-42a5-ab71-24588885b7fe" providerId="ADAL" clId="{F6700264-7274-4DC9-BB6D-55AE9BA47D9A}" dt="2021-11-19T07:35:17.610" v="3340"/>
        <pc:sldMkLst>
          <pc:docMk/>
          <pc:sldMk cId="3635193786" sldId="967"/>
        </pc:sldMkLst>
        <pc:spChg chg="mod">
          <ac:chgData name="Müller, Kurt (SI BP S TSS ACD)" userId="e7e82c7e-80c6-42a5-ab71-24588885b7fe" providerId="ADAL" clId="{F6700264-7274-4DC9-BB6D-55AE9BA47D9A}" dt="2021-11-18T14:10:18.362" v="3280" actId="20577"/>
          <ac:spMkLst>
            <pc:docMk/>
            <pc:sldMk cId="3635193786" sldId="967"/>
            <ac:spMk id="3" creationId="{50E17820-B62F-4719-80D9-FEC26EF1D72C}"/>
          </ac:spMkLst>
        </pc:spChg>
        <pc:spChg chg="mod">
          <ac:chgData name="Müller, Kurt (SI BP S TSS ACD)" userId="e7e82c7e-80c6-42a5-ab71-24588885b7fe" providerId="ADAL" clId="{F6700264-7274-4DC9-BB6D-55AE9BA47D9A}" dt="2021-11-18T08:46:37.455" v="2523" actId="571"/>
          <ac:spMkLst>
            <pc:docMk/>
            <pc:sldMk cId="3635193786" sldId="967"/>
            <ac:spMk id="4" creationId="{3FC5BB77-2292-44E0-840E-B71FD1E2D5FE}"/>
          </ac:spMkLst>
        </pc:spChg>
        <pc:spChg chg="mod">
          <ac:chgData name="Müller, Kurt (SI BP S TSS ACD)" userId="e7e82c7e-80c6-42a5-ab71-24588885b7fe" providerId="ADAL" clId="{F6700264-7274-4DC9-BB6D-55AE9BA47D9A}" dt="2021-11-18T08:46:37.455" v="2523" actId="571"/>
          <ac:spMkLst>
            <pc:docMk/>
            <pc:sldMk cId="3635193786" sldId="967"/>
            <ac:spMk id="5" creationId="{86B3B369-DA5D-4EF1-A634-946EE29B2D70}"/>
          </ac:spMkLst>
        </pc:spChg>
        <pc:spChg chg="del mod">
          <ac:chgData name="Müller, Kurt (SI BP S TSS ACD)" userId="e7e82c7e-80c6-42a5-ab71-24588885b7fe" providerId="ADAL" clId="{F6700264-7274-4DC9-BB6D-55AE9BA47D9A}" dt="2021-11-18T08:41:32.941" v="2508" actId="478"/>
          <ac:spMkLst>
            <pc:docMk/>
            <pc:sldMk cId="3635193786" sldId="967"/>
            <ac:spMk id="17" creationId="{7D34A297-BAC5-4AF3-93E1-7530E6A16080}"/>
          </ac:spMkLst>
        </pc:spChg>
        <pc:spChg chg="mod">
          <ac:chgData name="Müller, Kurt (SI BP S TSS ACD)" userId="e7e82c7e-80c6-42a5-ab71-24588885b7fe" providerId="ADAL" clId="{F6700264-7274-4DC9-BB6D-55AE9BA47D9A}" dt="2021-11-18T08:46:37.455" v="2523" actId="571"/>
          <ac:spMkLst>
            <pc:docMk/>
            <pc:sldMk cId="3635193786" sldId="967"/>
            <ac:spMk id="18" creationId="{5CC1D7EE-92EB-4EE8-BA93-E8782CAE39F4}"/>
          </ac:spMkLst>
        </pc:spChg>
        <pc:spChg chg="mod">
          <ac:chgData name="Müller, Kurt (SI BP S TSS ACD)" userId="e7e82c7e-80c6-42a5-ab71-24588885b7fe" providerId="ADAL" clId="{F6700264-7274-4DC9-BB6D-55AE9BA47D9A}" dt="2021-11-18T08:46:37.455" v="2523" actId="571"/>
          <ac:spMkLst>
            <pc:docMk/>
            <pc:sldMk cId="3635193786" sldId="967"/>
            <ac:spMk id="20" creationId="{063AD231-0325-42C6-9385-EB84A609620C}"/>
          </ac:spMkLst>
        </pc:spChg>
        <pc:spChg chg="del mod">
          <ac:chgData name="Müller, Kurt (SI BP S TSS ACD)" userId="e7e82c7e-80c6-42a5-ab71-24588885b7fe" providerId="ADAL" clId="{F6700264-7274-4DC9-BB6D-55AE9BA47D9A}" dt="2021-11-18T08:47:04.227" v="2531" actId="478"/>
          <ac:spMkLst>
            <pc:docMk/>
            <pc:sldMk cId="3635193786" sldId="967"/>
            <ac:spMk id="22" creationId="{2ABE4F4E-14DD-42CE-9A52-B4D75AE74006}"/>
          </ac:spMkLst>
        </pc:spChg>
        <pc:spChg chg="mod">
          <ac:chgData name="Müller, Kurt (SI BP S TSS ACD)" userId="e7e82c7e-80c6-42a5-ab71-24588885b7fe" providerId="ADAL" clId="{F6700264-7274-4DC9-BB6D-55AE9BA47D9A}" dt="2021-11-18T08:46:37.455" v="2523" actId="571"/>
          <ac:spMkLst>
            <pc:docMk/>
            <pc:sldMk cId="3635193786" sldId="967"/>
            <ac:spMk id="23" creationId="{1B73ECBD-5D13-4530-A601-19F0524AB75D}"/>
          </ac:spMkLst>
        </pc:spChg>
        <pc:spChg chg="mod">
          <ac:chgData name="Müller, Kurt (SI BP S TSS ACD)" userId="e7e82c7e-80c6-42a5-ab71-24588885b7fe" providerId="ADAL" clId="{F6700264-7274-4DC9-BB6D-55AE9BA47D9A}" dt="2021-11-18T08:46:37.455" v="2523" actId="571"/>
          <ac:spMkLst>
            <pc:docMk/>
            <pc:sldMk cId="3635193786" sldId="967"/>
            <ac:spMk id="24" creationId="{49D4A175-729D-4C7A-8ED6-44B92CB002D6}"/>
          </ac:spMkLst>
        </pc:spChg>
        <pc:spChg chg="mod">
          <ac:chgData name="Müller, Kurt (SI BP S TSS ACD)" userId="e7e82c7e-80c6-42a5-ab71-24588885b7fe" providerId="ADAL" clId="{F6700264-7274-4DC9-BB6D-55AE9BA47D9A}" dt="2021-11-18T08:46:37.455" v="2523" actId="571"/>
          <ac:spMkLst>
            <pc:docMk/>
            <pc:sldMk cId="3635193786" sldId="967"/>
            <ac:spMk id="25" creationId="{16E7EBDB-0A4D-465A-8831-489BAE62E0EA}"/>
          </ac:spMkLst>
        </pc:spChg>
        <pc:spChg chg="mod">
          <ac:chgData name="Müller, Kurt (SI BP S TSS ACD)" userId="e7e82c7e-80c6-42a5-ab71-24588885b7fe" providerId="ADAL" clId="{F6700264-7274-4DC9-BB6D-55AE9BA47D9A}" dt="2021-11-18T08:46:37.455" v="2523" actId="571"/>
          <ac:spMkLst>
            <pc:docMk/>
            <pc:sldMk cId="3635193786" sldId="967"/>
            <ac:spMk id="28" creationId="{C65A48A6-9820-4A67-8313-6833D5639765}"/>
          </ac:spMkLst>
        </pc:spChg>
        <pc:spChg chg="add mod">
          <ac:chgData name="Müller, Kurt (SI BP S TSS ACD)" userId="e7e82c7e-80c6-42a5-ab71-24588885b7fe" providerId="ADAL" clId="{F6700264-7274-4DC9-BB6D-55AE9BA47D9A}" dt="2021-11-18T08:46:38.906" v="2524" actId="20577"/>
          <ac:spMkLst>
            <pc:docMk/>
            <pc:sldMk cId="3635193786" sldId="967"/>
            <ac:spMk id="29" creationId="{D7DAA3EA-544C-4AF8-9D83-DCEBB42C86E7}"/>
          </ac:spMkLst>
        </pc:spChg>
        <pc:spChg chg="mod">
          <ac:chgData name="Müller, Kurt (SI BP S TSS ACD)" userId="e7e82c7e-80c6-42a5-ab71-24588885b7fe" providerId="ADAL" clId="{F6700264-7274-4DC9-BB6D-55AE9BA47D9A}" dt="2021-11-18T08:41:24.306" v="2507" actId="20577"/>
          <ac:spMkLst>
            <pc:docMk/>
            <pc:sldMk cId="3635193786" sldId="967"/>
            <ac:spMk id="41" creationId="{A9E1A35C-4F20-4134-9B83-80A258C1DE87}"/>
          </ac:spMkLst>
        </pc:spChg>
        <pc:grpChg chg="add mod">
          <ac:chgData name="Müller, Kurt (SI BP S TSS ACD)" userId="e7e82c7e-80c6-42a5-ab71-24588885b7fe" providerId="ADAL" clId="{F6700264-7274-4DC9-BB6D-55AE9BA47D9A}" dt="2021-11-18T08:46:37.455" v="2523" actId="571"/>
          <ac:grpSpMkLst>
            <pc:docMk/>
            <pc:sldMk cId="3635193786" sldId="967"/>
            <ac:grpSpMk id="7" creationId="{BAA1F0AC-554E-4009-893B-215DC7436C41}"/>
          </ac:grpSpMkLst>
        </pc:grpChg>
        <pc:graphicFrameChg chg="mod">
          <ac:chgData name="Müller, Kurt (SI BP S TSS ACD)" userId="e7e82c7e-80c6-42a5-ab71-24588885b7fe" providerId="ADAL" clId="{F6700264-7274-4DC9-BB6D-55AE9BA47D9A}" dt="2021-11-18T08:46:37.455" v="2523" actId="571"/>
          <ac:graphicFrameMkLst>
            <pc:docMk/>
            <pc:sldMk cId="3635193786" sldId="967"/>
            <ac:graphicFrameMk id="16" creationId="{0C7D8580-5C42-4870-B82D-19E862828E06}"/>
          </ac:graphicFrameMkLst>
        </pc:graphicFrameChg>
        <pc:cxnChg chg="mod">
          <ac:chgData name="Müller, Kurt (SI BP S TSS ACD)" userId="e7e82c7e-80c6-42a5-ab71-24588885b7fe" providerId="ADAL" clId="{F6700264-7274-4DC9-BB6D-55AE9BA47D9A}" dt="2021-11-18T08:46:37.455" v="2523" actId="571"/>
          <ac:cxnSpMkLst>
            <pc:docMk/>
            <pc:sldMk cId="3635193786" sldId="967"/>
            <ac:cxnSpMk id="6" creationId="{DBB418BC-95FB-4453-B2B3-F3A75946C757}"/>
          </ac:cxnSpMkLst>
        </pc:cxnChg>
        <pc:cxnChg chg="mod">
          <ac:chgData name="Müller, Kurt (SI BP S TSS ACD)" userId="e7e82c7e-80c6-42a5-ab71-24588885b7fe" providerId="ADAL" clId="{F6700264-7274-4DC9-BB6D-55AE9BA47D9A}" dt="2021-11-18T08:46:37.455" v="2523" actId="571"/>
          <ac:cxnSpMkLst>
            <pc:docMk/>
            <pc:sldMk cId="3635193786" sldId="967"/>
            <ac:cxnSpMk id="11" creationId="{AC9657B1-12CD-4935-98DA-912AAACB379A}"/>
          </ac:cxnSpMkLst>
        </pc:cxnChg>
        <pc:cxnChg chg="mod">
          <ac:chgData name="Müller, Kurt (SI BP S TSS ACD)" userId="e7e82c7e-80c6-42a5-ab71-24588885b7fe" providerId="ADAL" clId="{F6700264-7274-4DC9-BB6D-55AE9BA47D9A}" dt="2021-11-18T08:46:37.455" v="2523" actId="571"/>
          <ac:cxnSpMkLst>
            <pc:docMk/>
            <pc:sldMk cId="3635193786" sldId="967"/>
            <ac:cxnSpMk id="26" creationId="{37DCE923-D6D2-4903-B6FA-26F8A935165C}"/>
          </ac:cxnSpMkLst>
        </pc:cxnChg>
        <pc:cxnChg chg="mod">
          <ac:chgData name="Müller, Kurt (SI BP S TSS ACD)" userId="e7e82c7e-80c6-42a5-ab71-24588885b7fe" providerId="ADAL" clId="{F6700264-7274-4DC9-BB6D-55AE9BA47D9A}" dt="2021-11-18T08:46:37.455" v="2523" actId="571"/>
          <ac:cxnSpMkLst>
            <pc:docMk/>
            <pc:sldMk cId="3635193786" sldId="967"/>
            <ac:cxnSpMk id="27" creationId="{0D564C88-BA5A-4362-8564-0334077CABE3}"/>
          </ac:cxnSpMkLst>
        </pc:cxnChg>
      </pc:sldChg>
      <pc:sldChg chg="addSp delSp modSp mod">
        <pc:chgData name="Müller, Kurt (SI BP S TSS ACD)" userId="e7e82c7e-80c6-42a5-ab71-24588885b7fe" providerId="ADAL" clId="{F6700264-7274-4DC9-BB6D-55AE9BA47D9A}" dt="2021-11-18T14:25:29.570" v="3306" actId="1076"/>
        <pc:sldMkLst>
          <pc:docMk/>
          <pc:sldMk cId="324226510" sldId="968"/>
        </pc:sldMkLst>
        <pc:spChg chg="mod">
          <ac:chgData name="Müller, Kurt (SI BP S TSS ACD)" userId="e7e82c7e-80c6-42a5-ab71-24588885b7fe" providerId="ADAL" clId="{F6700264-7274-4DC9-BB6D-55AE9BA47D9A}" dt="2021-11-18T09:12:46.832" v="2738" actId="14100"/>
          <ac:spMkLst>
            <pc:docMk/>
            <pc:sldMk cId="324226510" sldId="968"/>
            <ac:spMk id="3" creationId="{50E17820-B62F-4719-80D9-FEC26EF1D72C}"/>
          </ac:spMkLst>
        </pc:spChg>
        <pc:spChg chg="add del mod">
          <ac:chgData name="Müller, Kurt (SI BP S TSS ACD)" userId="e7e82c7e-80c6-42a5-ab71-24588885b7fe" providerId="ADAL" clId="{F6700264-7274-4DC9-BB6D-55AE9BA47D9A}" dt="2021-11-18T14:11:41.043" v="3282" actId="478"/>
          <ac:spMkLst>
            <pc:docMk/>
            <pc:sldMk cId="324226510" sldId="968"/>
            <ac:spMk id="4" creationId="{374D54B0-30D1-423D-A1A8-E1FB434367E0}"/>
          </ac:spMkLst>
        </pc:spChg>
        <pc:spChg chg="add mod">
          <ac:chgData name="Müller, Kurt (SI BP S TSS ACD)" userId="e7e82c7e-80c6-42a5-ab71-24588885b7fe" providerId="ADAL" clId="{F6700264-7274-4DC9-BB6D-55AE9BA47D9A}" dt="2021-11-18T14:24:47.178" v="3298" actId="14100"/>
          <ac:spMkLst>
            <pc:docMk/>
            <pc:sldMk cId="324226510" sldId="968"/>
            <ac:spMk id="10" creationId="{608CFFE1-496F-4D54-A173-E3451D9BF9E1}"/>
          </ac:spMkLst>
        </pc:spChg>
        <pc:spChg chg="add mod">
          <ac:chgData name="Müller, Kurt (SI BP S TSS ACD)" userId="e7e82c7e-80c6-42a5-ab71-24588885b7fe" providerId="ADAL" clId="{F6700264-7274-4DC9-BB6D-55AE9BA47D9A}" dt="2021-11-18T14:24:50.818" v="3299" actId="1076"/>
          <ac:spMkLst>
            <pc:docMk/>
            <pc:sldMk cId="324226510" sldId="968"/>
            <ac:spMk id="11" creationId="{9A5B458B-A369-4754-A310-AD31606BE8F0}"/>
          </ac:spMkLst>
        </pc:spChg>
        <pc:spChg chg="del mod">
          <ac:chgData name="Müller, Kurt (SI BP S TSS ACD)" userId="e7e82c7e-80c6-42a5-ab71-24588885b7fe" providerId="ADAL" clId="{F6700264-7274-4DC9-BB6D-55AE9BA47D9A}" dt="2021-11-18T14:25:25.939" v="3305" actId="478"/>
          <ac:spMkLst>
            <pc:docMk/>
            <pc:sldMk cId="324226510" sldId="968"/>
            <ac:spMk id="19" creationId="{52C4C246-F6DA-4D02-BE4A-981B2E0D6CF3}"/>
          </ac:spMkLst>
        </pc:spChg>
        <pc:spChg chg="mod">
          <ac:chgData name="Müller, Kurt (SI BP S TSS ACD)" userId="e7e82c7e-80c6-42a5-ab71-24588885b7fe" providerId="ADAL" clId="{F6700264-7274-4DC9-BB6D-55AE9BA47D9A}" dt="2021-11-18T14:25:29.570" v="3306" actId="1076"/>
          <ac:spMkLst>
            <pc:docMk/>
            <pc:sldMk cId="324226510" sldId="968"/>
            <ac:spMk id="20" creationId="{36BB1D5C-9FDE-4F18-8845-DE9002303739}"/>
          </ac:spMkLst>
        </pc:spChg>
        <pc:spChg chg="mod">
          <ac:chgData name="Müller, Kurt (SI BP S TSS ACD)" userId="e7e82c7e-80c6-42a5-ab71-24588885b7fe" providerId="ADAL" clId="{F6700264-7274-4DC9-BB6D-55AE9BA47D9A}" dt="2021-11-18T09:13:21.052" v="2745" actId="20577"/>
          <ac:spMkLst>
            <pc:docMk/>
            <pc:sldMk cId="324226510" sldId="968"/>
            <ac:spMk id="43" creationId="{98A43F71-6AED-4674-9845-05F3AB688E7C}"/>
          </ac:spMkLst>
        </pc:spChg>
        <pc:picChg chg="del mod">
          <ac:chgData name="Müller, Kurt (SI BP S TSS ACD)" userId="e7e82c7e-80c6-42a5-ab71-24588885b7fe" providerId="ADAL" clId="{F6700264-7274-4DC9-BB6D-55AE9BA47D9A}" dt="2021-11-18T14:14:41.037" v="3283" actId="478"/>
          <ac:picMkLst>
            <pc:docMk/>
            <pc:sldMk cId="324226510" sldId="968"/>
            <ac:picMk id="6" creationId="{E94BE533-4CCE-40E8-98E9-202085910DDC}"/>
          </ac:picMkLst>
        </pc:picChg>
        <pc:picChg chg="add mod">
          <ac:chgData name="Müller, Kurt (SI BP S TSS ACD)" userId="e7e82c7e-80c6-42a5-ab71-24588885b7fe" providerId="ADAL" clId="{F6700264-7274-4DC9-BB6D-55AE9BA47D9A}" dt="2021-11-18T14:24:35.666" v="3295" actId="14100"/>
          <ac:picMkLst>
            <pc:docMk/>
            <pc:sldMk cId="324226510" sldId="968"/>
            <ac:picMk id="1026" creationId="{931BCE60-6EDF-4570-A39F-231E7169FF7B}"/>
          </ac:picMkLst>
        </pc:picChg>
      </pc:sldChg>
      <pc:sldChg chg="modSp mod modShow">
        <pc:chgData name="Müller, Kurt (SI BP S TSS ACD)" userId="e7e82c7e-80c6-42a5-ab71-24588885b7fe" providerId="ADAL" clId="{F6700264-7274-4DC9-BB6D-55AE9BA47D9A}" dt="2021-11-17T17:57:56.029" v="2129" actId="20577"/>
        <pc:sldMkLst>
          <pc:docMk/>
          <pc:sldMk cId="752877429" sldId="973"/>
        </pc:sldMkLst>
        <pc:spChg chg="mod">
          <ac:chgData name="Müller, Kurt (SI BP S TSS ACD)" userId="e7e82c7e-80c6-42a5-ab71-24588885b7fe" providerId="ADAL" clId="{F6700264-7274-4DC9-BB6D-55AE9BA47D9A}" dt="2021-11-17T17:57:25.863" v="2119" actId="14100"/>
          <ac:spMkLst>
            <pc:docMk/>
            <pc:sldMk cId="752877429" sldId="973"/>
            <ac:spMk id="3" creationId="{50E17820-B62F-4719-80D9-FEC26EF1D72C}"/>
          </ac:spMkLst>
        </pc:spChg>
        <pc:spChg chg="mod">
          <ac:chgData name="Müller, Kurt (SI BP S TSS ACD)" userId="e7e82c7e-80c6-42a5-ab71-24588885b7fe" providerId="ADAL" clId="{F6700264-7274-4DC9-BB6D-55AE9BA47D9A}" dt="2021-11-17T17:56:59.790" v="2110" actId="1076"/>
          <ac:spMkLst>
            <pc:docMk/>
            <pc:sldMk cId="752877429" sldId="973"/>
            <ac:spMk id="8" creationId="{5BA56233-C79F-4818-A2E9-B0B1FB824B47}"/>
          </ac:spMkLst>
        </pc:spChg>
        <pc:spChg chg="mod">
          <ac:chgData name="Müller, Kurt (SI BP S TSS ACD)" userId="e7e82c7e-80c6-42a5-ab71-24588885b7fe" providerId="ADAL" clId="{F6700264-7274-4DC9-BB6D-55AE9BA47D9A}" dt="2021-11-17T17:56:59.790" v="2110" actId="1076"/>
          <ac:spMkLst>
            <pc:docMk/>
            <pc:sldMk cId="752877429" sldId="973"/>
            <ac:spMk id="9" creationId="{6CED7BC3-63BE-4E45-9E5C-751262797381}"/>
          </ac:spMkLst>
        </pc:spChg>
        <pc:spChg chg="mod">
          <ac:chgData name="Müller, Kurt (SI BP S TSS ACD)" userId="e7e82c7e-80c6-42a5-ab71-24588885b7fe" providerId="ADAL" clId="{F6700264-7274-4DC9-BB6D-55AE9BA47D9A}" dt="2021-11-17T17:56:59.790" v="2110" actId="1076"/>
          <ac:spMkLst>
            <pc:docMk/>
            <pc:sldMk cId="752877429" sldId="973"/>
            <ac:spMk id="10" creationId="{189BB0B8-049E-4352-9E41-9360EA7C648B}"/>
          </ac:spMkLst>
        </pc:spChg>
        <pc:spChg chg="mod">
          <ac:chgData name="Müller, Kurt (SI BP S TSS ACD)" userId="e7e82c7e-80c6-42a5-ab71-24588885b7fe" providerId="ADAL" clId="{F6700264-7274-4DC9-BB6D-55AE9BA47D9A}" dt="2021-11-17T17:57:56.029" v="2129" actId="20577"/>
          <ac:spMkLst>
            <pc:docMk/>
            <pc:sldMk cId="752877429" sldId="973"/>
            <ac:spMk id="15" creationId="{DD9298ED-6A82-4DC3-AD08-8F216D399BED}"/>
          </ac:spMkLst>
        </pc:spChg>
        <pc:spChg chg="mod">
          <ac:chgData name="Müller, Kurt (SI BP S TSS ACD)" userId="e7e82c7e-80c6-42a5-ab71-24588885b7fe" providerId="ADAL" clId="{F6700264-7274-4DC9-BB6D-55AE9BA47D9A}" dt="2021-11-17T17:53:12.025" v="2088"/>
          <ac:spMkLst>
            <pc:docMk/>
            <pc:sldMk cId="752877429" sldId="973"/>
            <ac:spMk id="40" creationId="{571AD84A-8C44-4932-82D0-18495FC0A60F}"/>
          </ac:spMkLst>
        </pc:spChg>
        <pc:grpChg chg="mod">
          <ac:chgData name="Müller, Kurt (SI BP S TSS ACD)" userId="e7e82c7e-80c6-42a5-ab71-24588885b7fe" providerId="ADAL" clId="{F6700264-7274-4DC9-BB6D-55AE9BA47D9A}" dt="2021-11-17T17:56:59.790" v="2110" actId="1076"/>
          <ac:grpSpMkLst>
            <pc:docMk/>
            <pc:sldMk cId="752877429" sldId="973"/>
            <ac:grpSpMk id="16" creationId="{A5DAC378-A5DE-4482-8975-0D93B2EC8886}"/>
          </ac:grpSpMkLst>
        </pc:grpChg>
        <pc:picChg chg="mod modCrop">
          <ac:chgData name="Müller, Kurt (SI BP S TSS ACD)" userId="e7e82c7e-80c6-42a5-ab71-24588885b7fe" providerId="ADAL" clId="{F6700264-7274-4DC9-BB6D-55AE9BA47D9A}" dt="2021-11-17T17:56:59.790" v="2110" actId="1076"/>
          <ac:picMkLst>
            <pc:docMk/>
            <pc:sldMk cId="752877429" sldId="973"/>
            <ac:picMk id="5" creationId="{BC93E0E2-C694-4569-A6EC-6BB3D15B333A}"/>
          </ac:picMkLst>
        </pc:picChg>
        <pc:picChg chg="mod">
          <ac:chgData name="Müller, Kurt (SI BP S TSS ACD)" userId="e7e82c7e-80c6-42a5-ab71-24588885b7fe" providerId="ADAL" clId="{F6700264-7274-4DC9-BB6D-55AE9BA47D9A}" dt="2021-11-17T17:57:17.663" v="2118" actId="14100"/>
          <ac:picMkLst>
            <pc:docMk/>
            <pc:sldMk cId="752877429" sldId="973"/>
            <ac:picMk id="7" creationId="{8896ABBA-4483-4B87-9AE4-D858136B2F4A}"/>
          </ac:picMkLst>
        </pc:picChg>
        <pc:cxnChg chg="mod">
          <ac:chgData name="Müller, Kurt (SI BP S TSS ACD)" userId="e7e82c7e-80c6-42a5-ab71-24588885b7fe" providerId="ADAL" clId="{F6700264-7274-4DC9-BB6D-55AE9BA47D9A}" dt="2021-11-17T17:57:06.156" v="2117" actId="14100"/>
          <ac:cxnSpMkLst>
            <pc:docMk/>
            <pc:sldMk cId="752877429" sldId="973"/>
            <ac:cxnSpMk id="12" creationId="{2933AB56-70F4-4DF1-B3EF-311F6B662647}"/>
          </ac:cxnSpMkLst>
        </pc:cxnChg>
      </pc:sldChg>
      <pc:sldChg chg="del">
        <pc:chgData name="Müller, Kurt (SI BP S TSS ACD)" userId="e7e82c7e-80c6-42a5-ab71-24588885b7fe" providerId="ADAL" clId="{F6700264-7274-4DC9-BB6D-55AE9BA47D9A}" dt="2021-11-16T18:30:49.637" v="523" actId="47"/>
        <pc:sldMkLst>
          <pc:docMk/>
          <pc:sldMk cId="3920165038" sldId="2431"/>
        </pc:sldMkLst>
      </pc:sldChg>
      <pc:sldChg chg="addSp modSp add del mod modAnim">
        <pc:chgData name="Müller, Kurt (SI BP S TSS ACD)" userId="e7e82c7e-80c6-42a5-ab71-24588885b7fe" providerId="ADAL" clId="{F6700264-7274-4DC9-BB6D-55AE9BA47D9A}" dt="2021-11-18T16:25:11.020" v="3337" actId="1076"/>
        <pc:sldMkLst>
          <pc:docMk/>
          <pc:sldMk cId="1004559465" sldId="2432"/>
        </pc:sldMkLst>
        <pc:spChg chg="mod">
          <ac:chgData name="Müller, Kurt (SI BP S TSS ACD)" userId="e7e82c7e-80c6-42a5-ab71-24588885b7fe" providerId="ADAL" clId="{F6700264-7274-4DC9-BB6D-55AE9BA47D9A}" dt="2021-11-18T16:24:37.850" v="3319" actId="1076"/>
          <ac:spMkLst>
            <pc:docMk/>
            <pc:sldMk cId="1004559465" sldId="2432"/>
            <ac:spMk id="3" creationId="{60A7DF81-421E-4490-8608-D85C95DEBF68}"/>
          </ac:spMkLst>
        </pc:spChg>
        <pc:spChg chg="mod">
          <ac:chgData name="Müller, Kurt (SI BP S TSS ACD)" userId="e7e82c7e-80c6-42a5-ab71-24588885b7fe" providerId="ADAL" clId="{F6700264-7274-4DC9-BB6D-55AE9BA47D9A}" dt="2021-11-18T16:24:26.618" v="3316" actId="164"/>
          <ac:spMkLst>
            <pc:docMk/>
            <pc:sldMk cId="1004559465" sldId="2432"/>
            <ac:spMk id="16" creationId="{EC2E7E6A-D290-4852-BCAA-83584C01BE12}"/>
          </ac:spMkLst>
        </pc:spChg>
        <pc:spChg chg="mod">
          <ac:chgData name="Müller, Kurt (SI BP S TSS ACD)" userId="e7e82c7e-80c6-42a5-ab71-24588885b7fe" providerId="ADAL" clId="{F6700264-7274-4DC9-BB6D-55AE9BA47D9A}" dt="2021-11-18T16:24:26.618" v="3316" actId="164"/>
          <ac:spMkLst>
            <pc:docMk/>
            <pc:sldMk cId="1004559465" sldId="2432"/>
            <ac:spMk id="17" creationId="{CFD5E995-EBDB-4F0D-82A9-ECB9F3435978}"/>
          </ac:spMkLst>
        </pc:spChg>
        <pc:spChg chg="mod">
          <ac:chgData name="Müller, Kurt (SI BP S TSS ACD)" userId="e7e82c7e-80c6-42a5-ab71-24588885b7fe" providerId="ADAL" clId="{F6700264-7274-4DC9-BB6D-55AE9BA47D9A}" dt="2021-11-18T16:24:26.618" v="3316" actId="164"/>
          <ac:spMkLst>
            <pc:docMk/>
            <pc:sldMk cId="1004559465" sldId="2432"/>
            <ac:spMk id="18" creationId="{508C1E4D-E5A8-4743-959D-0A8BA1668F8E}"/>
          </ac:spMkLst>
        </pc:spChg>
        <pc:spChg chg="mod">
          <ac:chgData name="Müller, Kurt (SI BP S TSS ACD)" userId="e7e82c7e-80c6-42a5-ab71-24588885b7fe" providerId="ADAL" clId="{F6700264-7274-4DC9-BB6D-55AE9BA47D9A}" dt="2021-11-18T16:24:26.618" v="3316" actId="164"/>
          <ac:spMkLst>
            <pc:docMk/>
            <pc:sldMk cId="1004559465" sldId="2432"/>
            <ac:spMk id="19" creationId="{A25D5167-8F9B-4E95-A74E-319EED052D1D}"/>
          </ac:spMkLst>
        </pc:spChg>
        <pc:spChg chg="mod">
          <ac:chgData name="Müller, Kurt (SI BP S TSS ACD)" userId="e7e82c7e-80c6-42a5-ab71-24588885b7fe" providerId="ADAL" clId="{F6700264-7274-4DC9-BB6D-55AE9BA47D9A}" dt="2021-11-18T16:25:11.020" v="3337" actId="1076"/>
          <ac:spMkLst>
            <pc:docMk/>
            <pc:sldMk cId="1004559465" sldId="2432"/>
            <ac:spMk id="28" creationId="{95F1FC88-012A-4D0C-AA18-2E9B5FB1227D}"/>
          </ac:spMkLst>
        </pc:spChg>
        <pc:grpChg chg="add mod">
          <ac:chgData name="Müller, Kurt (SI BP S TSS ACD)" userId="e7e82c7e-80c6-42a5-ab71-24588885b7fe" providerId="ADAL" clId="{F6700264-7274-4DC9-BB6D-55AE9BA47D9A}" dt="2021-11-18T16:24:59.171" v="3334" actId="1036"/>
          <ac:grpSpMkLst>
            <pc:docMk/>
            <pc:sldMk cId="1004559465" sldId="2432"/>
            <ac:grpSpMk id="2" creationId="{B7F4FB71-E898-4EB4-A91E-4158A8F19751}"/>
          </ac:grpSpMkLst>
        </pc:grpChg>
        <pc:picChg chg="mod">
          <ac:chgData name="Müller, Kurt (SI BP S TSS ACD)" userId="e7e82c7e-80c6-42a5-ab71-24588885b7fe" providerId="ADAL" clId="{F6700264-7274-4DC9-BB6D-55AE9BA47D9A}" dt="2021-11-18T16:24:26.618" v="3316" actId="164"/>
          <ac:picMkLst>
            <pc:docMk/>
            <pc:sldMk cId="1004559465" sldId="2432"/>
            <ac:picMk id="12" creationId="{68E26049-EA18-4E12-AA23-E7EF11045AA0}"/>
          </ac:picMkLst>
        </pc:picChg>
        <pc:picChg chg="mod">
          <ac:chgData name="Müller, Kurt (SI BP S TSS ACD)" userId="e7e82c7e-80c6-42a5-ab71-24588885b7fe" providerId="ADAL" clId="{F6700264-7274-4DC9-BB6D-55AE9BA47D9A}" dt="2021-11-18T16:24:26.618" v="3316" actId="164"/>
          <ac:picMkLst>
            <pc:docMk/>
            <pc:sldMk cId="1004559465" sldId="2432"/>
            <ac:picMk id="21" creationId="{6C2BF3AB-12B0-4E8D-9F3E-DD2F68DF84FB}"/>
          </ac:picMkLst>
        </pc:picChg>
        <pc:picChg chg="mod">
          <ac:chgData name="Müller, Kurt (SI BP S TSS ACD)" userId="e7e82c7e-80c6-42a5-ab71-24588885b7fe" providerId="ADAL" clId="{F6700264-7274-4DC9-BB6D-55AE9BA47D9A}" dt="2021-11-18T16:24:26.618" v="3316" actId="164"/>
          <ac:picMkLst>
            <pc:docMk/>
            <pc:sldMk cId="1004559465" sldId="2432"/>
            <ac:picMk id="23" creationId="{9CD939D8-362F-4674-90A9-7A2F1A95B8FA}"/>
          </ac:picMkLst>
        </pc:picChg>
        <pc:picChg chg="mod">
          <ac:chgData name="Müller, Kurt (SI BP S TSS ACD)" userId="e7e82c7e-80c6-42a5-ab71-24588885b7fe" providerId="ADAL" clId="{F6700264-7274-4DC9-BB6D-55AE9BA47D9A}" dt="2021-11-18T16:24:26.618" v="3316" actId="164"/>
          <ac:picMkLst>
            <pc:docMk/>
            <pc:sldMk cId="1004559465" sldId="2432"/>
            <ac:picMk id="25" creationId="{48A10168-2DB3-4E98-9C44-A3BF8D810554}"/>
          </ac:picMkLst>
        </pc:picChg>
        <pc:picChg chg="mod">
          <ac:chgData name="Müller, Kurt (SI BP S TSS ACD)" userId="e7e82c7e-80c6-42a5-ab71-24588885b7fe" providerId="ADAL" clId="{F6700264-7274-4DC9-BB6D-55AE9BA47D9A}" dt="2021-11-18T16:24:26.618" v="3316" actId="164"/>
          <ac:picMkLst>
            <pc:docMk/>
            <pc:sldMk cId="1004559465" sldId="2432"/>
            <ac:picMk id="27" creationId="{5288B8AE-9943-4323-ADC3-A31EDBAC49E3}"/>
          </ac:picMkLst>
        </pc:picChg>
        <pc:picChg chg="mod">
          <ac:chgData name="Müller, Kurt (SI BP S TSS ACD)" userId="e7e82c7e-80c6-42a5-ab71-24588885b7fe" providerId="ADAL" clId="{F6700264-7274-4DC9-BB6D-55AE9BA47D9A}" dt="2021-11-18T16:24:26.618" v="3316" actId="164"/>
          <ac:picMkLst>
            <pc:docMk/>
            <pc:sldMk cId="1004559465" sldId="2432"/>
            <ac:picMk id="29" creationId="{0CFB9DA1-B162-4317-AA2A-2F3610412805}"/>
          </ac:picMkLst>
        </pc:picChg>
        <pc:picChg chg="mod">
          <ac:chgData name="Müller, Kurt (SI BP S TSS ACD)" userId="e7e82c7e-80c6-42a5-ab71-24588885b7fe" providerId="ADAL" clId="{F6700264-7274-4DC9-BB6D-55AE9BA47D9A}" dt="2021-11-18T16:24:26.618" v="3316" actId="164"/>
          <ac:picMkLst>
            <pc:docMk/>
            <pc:sldMk cId="1004559465" sldId="2432"/>
            <ac:picMk id="30" creationId="{25E76135-66EB-41FD-B8E2-9F4036CCFAE8}"/>
          </ac:picMkLst>
        </pc:picChg>
      </pc:sldChg>
      <pc:sldChg chg="delSp modSp mod">
        <pc:chgData name="Müller, Kurt (SI BP S TSS ACD)" userId="e7e82c7e-80c6-42a5-ab71-24588885b7fe" providerId="ADAL" clId="{F6700264-7274-4DC9-BB6D-55AE9BA47D9A}" dt="2021-11-18T14:22:50.390" v="3288" actId="478"/>
        <pc:sldMkLst>
          <pc:docMk/>
          <pc:sldMk cId="1060112155" sldId="2462"/>
        </pc:sldMkLst>
        <pc:spChg chg="mod">
          <ac:chgData name="Müller, Kurt (SI BP S TSS ACD)" userId="e7e82c7e-80c6-42a5-ab71-24588885b7fe" providerId="ADAL" clId="{F6700264-7274-4DC9-BB6D-55AE9BA47D9A}" dt="2021-11-18T14:00:00.621" v="3257" actId="113"/>
          <ac:spMkLst>
            <pc:docMk/>
            <pc:sldMk cId="1060112155" sldId="2462"/>
            <ac:spMk id="3" creationId="{1D880FF0-D7A2-436F-8597-A36DC7EBB2F8}"/>
          </ac:spMkLst>
        </pc:spChg>
        <pc:picChg chg="del">
          <ac:chgData name="Müller, Kurt (SI BP S TSS ACD)" userId="e7e82c7e-80c6-42a5-ab71-24588885b7fe" providerId="ADAL" clId="{F6700264-7274-4DC9-BB6D-55AE9BA47D9A}" dt="2021-11-18T14:22:50.390" v="3288" actId="478"/>
          <ac:picMkLst>
            <pc:docMk/>
            <pc:sldMk cId="1060112155" sldId="2462"/>
            <ac:picMk id="45" creationId="{7CBDA334-33D9-4688-8C03-2D7F6CD3A2EC}"/>
          </ac:picMkLst>
        </pc:picChg>
        <pc:picChg chg="del">
          <ac:chgData name="Müller, Kurt (SI BP S TSS ACD)" userId="e7e82c7e-80c6-42a5-ab71-24588885b7fe" providerId="ADAL" clId="{F6700264-7274-4DC9-BB6D-55AE9BA47D9A}" dt="2021-11-18T14:22:50.390" v="3288" actId="478"/>
          <ac:picMkLst>
            <pc:docMk/>
            <pc:sldMk cId="1060112155" sldId="2462"/>
            <ac:picMk id="46" creationId="{2A7D1D27-1512-4125-9B78-C5A2E57AB93A}"/>
          </ac:picMkLst>
        </pc:picChg>
        <pc:picChg chg="del">
          <ac:chgData name="Müller, Kurt (SI BP S TSS ACD)" userId="e7e82c7e-80c6-42a5-ab71-24588885b7fe" providerId="ADAL" clId="{F6700264-7274-4DC9-BB6D-55AE9BA47D9A}" dt="2021-11-18T14:22:50.390" v="3288" actId="478"/>
          <ac:picMkLst>
            <pc:docMk/>
            <pc:sldMk cId="1060112155" sldId="2462"/>
            <ac:picMk id="47" creationId="{B6C060B0-345D-493A-B99C-CEDF1DFD97B0}"/>
          </ac:picMkLst>
        </pc:picChg>
        <pc:picChg chg="del">
          <ac:chgData name="Müller, Kurt (SI BP S TSS ACD)" userId="e7e82c7e-80c6-42a5-ab71-24588885b7fe" providerId="ADAL" clId="{F6700264-7274-4DC9-BB6D-55AE9BA47D9A}" dt="2021-11-18T14:22:50.390" v="3288" actId="478"/>
          <ac:picMkLst>
            <pc:docMk/>
            <pc:sldMk cId="1060112155" sldId="2462"/>
            <ac:picMk id="84" creationId="{0C6492CA-CE9F-46D4-8842-C8E11BEC0047}"/>
          </ac:picMkLst>
        </pc:picChg>
        <pc:picChg chg="del">
          <ac:chgData name="Müller, Kurt (SI BP S TSS ACD)" userId="e7e82c7e-80c6-42a5-ab71-24588885b7fe" providerId="ADAL" clId="{F6700264-7274-4DC9-BB6D-55AE9BA47D9A}" dt="2021-11-18T14:22:50.390" v="3288" actId="478"/>
          <ac:picMkLst>
            <pc:docMk/>
            <pc:sldMk cId="1060112155" sldId="2462"/>
            <ac:picMk id="85" creationId="{99C0B062-EAAE-4B10-B791-B066B8DDB44A}"/>
          </ac:picMkLst>
        </pc:picChg>
        <pc:picChg chg="del">
          <ac:chgData name="Müller, Kurt (SI BP S TSS ACD)" userId="e7e82c7e-80c6-42a5-ab71-24588885b7fe" providerId="ADAL" clId="{F6700264-7274-4DC9-BB6D-55AE9BA47D9A}" dt="2021-11-18T14:22:50.390" v="3288" actId="478"/>
          <ac:picMkLst>
            <pc:docMk/>
            <pc:sldMk cId="1060112155" sldId="2462"/>
            <ac:picMk id="86" creationId="{4A1AD735-F37E-4D59-B5E2-75555A4E6908}"/>
          </ac:picMkLst>
        </pc:picChg>
        <pc:picChg chg="del">
          <ac:chgData name="Müller, Kurt (SI BP S TSS ACD)" userId="e7e82c7e-80c6-42a5-ab71-24588885b7fe" providerId="ADAL" clId="{F6700264-7274-4DC9-BB6D-55AE9BA47D9A}" dt="2021-11-18T14:22:50.390" v="3288" actId="478"/>
          <ac:picMkLst>
            <pc:docMk/>
            <pc:sldMk cId="1060112155" sldId="2462"/>
            <ac:picMk id="87" creationId="{B0E2CCD0-716C-4BF0-B263-DD99FB84D63F}"/>
          </ac:picMkLst>
        </pc:picChg>
        <pc:picChg chg="del">
          <ac:chgData name="Müller, Kurt (SI BP S TSS ACD)" userId="e7e82c7e-80c6-42a5-ab71-24588885b7fe" providerId="ADAL" clId="{F6700264-7274-4DC9-BB6D-55AE9BA47D9A}" dt="2021-11-18T14:22:50.390" v="3288" actId="478"/>
          <ac:picMkLst>
            <pc:docMk/>
            <pc:sldMk cId="1060112155" sldId="2462"/>
            <ac:picMk id="88" creationId="{073D9E4B-D738-456D-ACDE-4B9E92C13235}"/>
          </ac:picMkLst>
        </pc:picChg>
        <pc:picChg chg="del">
          <ac:chgData name="Müller, Kurt (SI BP S TSS ACD)" userId="e7e82c7e-80c6-42a5-ab71-24588885b7fe" providerId="ADAL" clId="{F6700264-7274-4DC9-BB6D-55AE9BA47D9A}" dt="2021-11-18T14:22:50.390" v="3288" actId="478"/>
          <ac:picMkLst>
            <pc:docMk/>
            <pc:sldMk cId="1060112155" sldId="2462"/>
            <ac:picMk id="89" creationId="{FCC84F92-CF4F-4080-BDD5-F150CD380E8E}"/>
          </ac:picMkLst>
        </pc:picChg>
        <pc:picChg chg="del">
          <ac:chgData name="Müller, Kurt (SI BP S TSS ACD)" userId="e7e82c7e-80c6-42a5-ab71-24588885b7fe" providerId="ADAL" clId="{F6700264-7274-4DC9-BB6D-55AE9BA47D9A}" dt="2021-11-18T14:22:50.390" v="3288" actId="478"/>
          <ac:picMkLst>
            <pc:docMk/>
            <pc:sldMk cId="1060112155" sldId="2462"/>
            <ac:picMk id="90" creationId="{AAB80E05-2347-4EEB-8E65-B7C641AF9C3A}"/>
          </ac:picMkLst>
        </pc:picChg>
        <pc:picChg chg="del">
          <ac:chgData name="Müller, Kurt (SI BP S TSS ACD)" userId="e7e82c7e-80c6-42a5-ab71-24588885b7fe" providerId="ADAL" clId="{F6700264-7274-4DC9-BB6D-55AE9BA47D9A}" dt="2021-11-18T14:22:50.390" v="3288" actId="478"/>
          <ac:picMkLst>
            <pc:docMk/>
            <pc:sldMk cId="1060112155" sldId="2462"/>
            <ac:picMk id="91" creationId="{946EC71A-89CB-4F22-9774-64931901FB52}"/>
          </ac:picMkLst>
        </pc:picChg>
        <pc:picChg chg="del">
          <ac:chgData name="Müller, Kurt (SI BP S TSS ACD)" userId="e7e82c7e-80c6-42a5-ab71-24588885b7fe" providerId="ADAL" clId="{F6700264-7274-4DC9-BB6D-55AE9BA47D9A}" dt="2021-11-18T14:22:50.390" v="3288" actId="478"/>
          <ac:picMkLst>
            <pc:docMk/>
            <pc:sldMk cId="1060112155" sldId="2462"/>
            <ac:picMk id="92" creationId="{0D444BAE-FB12-4ABD-8E0F-37A59476C265}"/>
          </ac:picMkLst>
        </pc:picChg>
        <pc:picChg chg="del">
          <ac:chgData name="Müller, Kurt (SI BP S TSS ACD)" userId="e7e82c7e-80c6-42a5-ab71-24588885b7fe" providerId="ADAL" clId="{F6700264-7274-4DC9-BB6D-55AE9BA47D9A}" dt="2021-11-18T14:22:50.390" v="3288" actId="478"/>
          <ac:picMkLst>
            <pc:docMk/>
            <pc:sldMk cId="1060112155" sldId="2462"/>
            <ac:picMk id="93" creationId="{074C80EE-1039-4A70-8360-5E4F828B43D8}"/>
          </ac:picMkLst>
        </pc:picChg>
        <pc:picChg chg="del">
          <ac:chgData name="Müller, Kurt (SI BP S TSS ACD)" userId="e7e82c7e-80c6-42a5-ab71-24588885b7fe" providerId="ADAL" clId="{F6700264-7274-4DC9-BB6D-55AE9BA47D9A}" dt="2021-11-18T14:22:50.390" v="3288" actId="478"/>
          <ac:picMkLst>
            <pc:docMk/>
            <pc:sldMk cId="1060112155" sldId="2462"/>
            <ac:picMk id="94" creationId="{A150351D-3C02-4552-9DA5-5FE762896A04}"/>
          </ac:picMkLst>
        </pc:picChg>
        <pc:picChg chg="del">
          <ac:chgData name="Müller, Kurt (SI BP S TSS ACD)" userId="e7e82c7e-80c6-42a5-ab71-24588885b7fe" providerId="ADAL" clId="{F6700264-7274-4DC9-BB6D-55AE9BA47D9A}" dt="2021-11-18T14:22:50.390" v="3288" actId="478"/>
          <ac:picMkLst>
            <pc:docMk/>
            <pc:sldMk cId="1060112155" sldId="2462"/>
            <ac:picMk id="95" creationId="{E0256513-082B-42FB-B7AC-625FEC825508}"/>
          </ac:picMkLst>
        </pc:picChg>
        <pc:picChg chg="del">
          <ac:chgData name="Müller, Kurt (SI BP S TSS ACD)" userId="e7e82c7e-80c6-42a5-ab71-24588885b7fe" providerId="ADAL" clId="{F6700264-7274-4DC9-BB6D-55AE9BA47D9A}" dt="2021-11-18T14:22:50.390" v="3288" actId="478"/>
          <ac:picMkLst>
            <pc:docMk/>
            <pc:sldMk cId="1060112155" sldId="2462"/>
            <ac:picMk id="96" creationId="{ACCD3471-9544-4313-A391-65B31A36852A}"/>
          </ac:picMkLst>
        </pc:picChg>
        <pc:picChg chg="del">
          <ac:chgData name="Müller, Kurt (SI BP S TSS ACD)" userId="e7e82c7e-80c6-42a5-ab71-24588885b7fe" providerId="ADAL" clId="{F6700264-7274-4DC9-BB6D-55AE9BA47D9A}" dt="2021-11-18T14:22:50.390" v="3288" actId="478"/>
          <ac:picMkLst>
            <pc:docMk/>
            <pc:sldMk cId="1060112155" sldId="2462"/>
            <ac:picMk id="97" creationId="{E990E287-1A42-43E2-A6C2-316AED7CD0E2}"/>
          </ac:picMkLst>
        </pc:picChg>
        <pc:picChg chg="del">
          <ac:chgData name="Müller, Kurt (SI BP S TSS ACD)" userId="e7e82c7e-80c6-42a5-ab71-24588885b7fe" providerId="ADAL" clId="{F6700264-7274-4DC9-BB6D-55AE9BA47D9A}" dt="2021-11-18T14:22:50.390" v="3288" actId="478"/>
          <ac:picMkLst>
            <pc:docMk/>
            <pc:sldMk cId="1060112155" sldId="2462"/>
            <ac:picMk id="98" creationId="{582D5826-9E92-4043-87CB-EAD0B8B21FDD}"/>
          </ac:picMkLst>
        </pc:picChg>
        <pc:picChg chg="del">
          <ac:chgData name="Müller, Kurt (SI BP S TSS ACD)" userId="e7e82c7e-80c6-42a5-ab71-24588885b7fe" providerId="ADAL" clId="{F6700264-7274-4DC9-BB6D-55AE9BA47D9A}" dt="2021-11-18T14:22:50.390" v="3288" actId="478"/>
          <ac:picMkLst>
            <pc:docMk/>
            <pc:sldMk cId="1060112155" sldId="2462"/>
            <ac:picMk id="99" creationId="{7C2BBAA6-8EB7-48D3-9208-FF8ECDCD2459}"/>
          </ac:picMkLst>
        </pc:picChg>
        <pc:picChg chg="del">
          <ac:chgData name="Müller, Kurt (SI BP S TSS ACD)" userId="e7e82c7e-80c6-42a5-ab71-24588885b7fe" providerId="ADAL" clId="{F6700264-7274-4DC9-BB6D-55AE9BA47D9A}" dt="2021-11-18T14:22:50.390" v="3288" actId="478"/>
          <ac:picMkLst>
            <pc:docMk/>
            <pc:sldMk cId="1060112155" sldId="2462"/>
            <ac:picMk id="100" creationId="{D5302F57-4110-4FCB-9D96-CC7E6FA318BA}"/>
          </ac:picMkLst>
        </pc:picChg>
        <pc:picChg chg="del">
          <ac:chgData name="Müller, Kurt (SI BP S TSS ACD)" userId="e7e82c7e-80c6-42a5-ab71-24588885b7fe" providerId="ADAL" clId="{F6700264-7274-4DC9-BB6D-55AE9BA47D9A}" dt="2021-11-18T14:22:50.390" v="3288" actId="478"/>
          <ac:picMkLst>
            <pc:docMk/>
            <pc:sldMk cId="1060112155" sldId="2462"/>
            <ac:picMk id="101" creationId="{8BD355AF-CC07-4FCF-8804-B7DBBD6BC0C5}"/>
          </ac:picMkLst>
        </pc:picChg>
        <pc:picChg chg="del">
          <ac:chgData name="Müller, Kurt (SI BP S TSS ACD)" userId="e7e82c7e-80c6-42a5-ab71-24588885b7fe" providerId="ADAL" clId="{F6700264-7274-4DC9-BB6D-55AE9BA47D9A}" dt="2021-11-18T14:22:50.390" v="3288" actId="478"/>
          <ac:picMkLst>
            <pc:docMk/>
            <pc:sldMk cId="1060112155" sldId="2462"/>
            <ac:picMk id="102" creationId="{C5692BC2-9119-444A-B5ED-4845EAC1C030}"/>
          </ac:picMkLst>
        </pc:picChg>
        <pc:picChg chg="del">
          <ac:chgData name="Müller, Kurt (SI BP S TSS ACD)" userId="e7e82c7e-80c6-42a5-ab71-24588885b7fe" providerId="ADAL" clId="{F6700264-7274-4DC9-BB6D-55AE9BA47D9A}" dt="2021-11-18T14:22:50.390" v="3288" actId="478"/>
          <ac:picMkLst>
            <pc:docMk/>
            <pc:sldMk cId="1060112155" sldId="2462"/>
            <ac:picMk id="103" creationId="{00C3E6B4-D119-452B-B1ED-374021F22AA8}"/>
          </ac:picMkLst>
        </pc:picChg>
        <pc:picChg chg="del">
          <ac:chgData name="Müller, Kurt (SI BP S TSS ACD)" userId="e7e82c7e-80c6-42a5-ab71-24588885b7fe" providerId="ADAL" clId="{F6700264-7274-4DC9-BB6D-55AE9BA47D9A}" dt="2021-11-18T14:22:50.390" v="3288" actId="478"/>
          <ac:picMkLst>
            <pc:docMk/>
            <pc:sldMk cId="1060112155" sldId="2462"/>
            <ac:picMk id="104" creationId="{139DD893-06ED-4DED-A670-E757D7101391}"/>
          </ac:picMkLst>
        </pc:picChg>
      </pc:sldChg>
      <pc:sldChg chg="addSp delSp modSp mod modAnim">
        <pc:chgData name="Müller, Kurt (SI BP S TSS ACD)" userId="e7e82c7e-80c6-42a5-ab71-24588885b7fe" providerId="ADAL" clId="{F6700264-7274-4DC9-BB6D-55AE9BA47D9A}" dt="2021-11-25T13:27:30.110" v="3968" actId="313"/>
        <pc:sldMkLst>
          <pc:docMk/>
          <pc:sldMk cId="981125185" sldId="2496"/>
        </pc:sldMkLst>
        <pc:spChg chg="mod">
          <ac:chgData name="Müller, Kurt (SI BP S TSS ACD)" userId="e7e82c7e-80c6-42a5-ab71-24588885b7fe" providerId="ADAL" clId="{F6700264-7274-4DC9-BB6D-55AE9BA47D9A}" dt="2021-11-25T13:27:30.110" v="3968" actId="313"/>
          <ac:spMkLst>
            <pc:docMk/>
            <pc:sldMk cId="981125185" sldId="2496"/>
            <ac:spMk id="30" creationId="{1188C648-6BAF-45F2-9DC8-CC5693773129}"/>
          </ac:spMkLst>
        </pc:spChg>
        <pc:spChg chg="mod">
          <ac:chgData name="Müller, Kurt (SI BP S TSS ACD)" userId="e7e82c7e-80c6-42a5-ab71-24588885b7fe" providerId="ADAL" clId="{F6700264-7274-4DC9-BB6D-55AE9BA47D9A}" dt="2021-11-25T12:27:17.509" v="3967" actId="1076"/>
          <ac:spMkLst>
            <pc:docMk/>
            <pc:sldMk cId="981125185" sldId="2496"/>
            <ac:spMk id="102" creationId="{7272B434-DFF7-4365-9052-ECBE573978BD}"/>
          </ac:spMkLst>
        </pc:spChg>
        <pc:spChg chg="add mod">
          <ac:chgData name="Müller, Kurt (SI BP S TSS ACD)" userId="e7e82c7e-80c6-42a5-ab71-24588885b7fe" providerId="ADAL" clId="{F6700264-7274-4DC9-BB6D-55AE9BA47D9A}" dt="2021-11-19T08:11:04.695" v="3359"/>
          <ac:spMkLst>
            <pc:docMk/>
            <pc:sldMk cId="981125185" sldId="2496"/>
            <ac:spMk id="103" creationId="{230989A9-342A-4321-B9D7-2816B24ABB44}"/>
          </ac:spMkLst>
        </pc:spChg>
        <pc:spChg chg="del mod">
          <ac:chgData name="Müller, Kurt (SI BP S TSS ACD)" userId="e7e82c7e-80c6-42a5-ab71-24588885b7fe" providerId="ADAL" clId="{F6700264-7274-4DC9-BB6D-55AE9BA47D9A}" dt="2021-11-17T14:55:42.081" v="741" actId="478"/>
          <ac:spMkLst>
            <pc:docMk/>
            <pc:sldMk cId="981125185" sldId="2496"/>
            <ac:spMk id="103" creationId="{B0C53639-07C9-4DF0-969F-93E619295FF1}"/>
          </ac:spMkLst>
        </pc:spChg>
        <pc:spChg chg="del">
          <ac:chgData name="Müller, Kurt (SI BP S TSS ACD)" userId="e7e82c7e-80c6-42a5-ab71-24588885b7fe" providerId="ADAL" clId="{F6700264-7274-4DC9-BB6D-55AE9BA47D9A}" dt="2021-11-19T08:10:41.450" v="3358" actId="478"/>
          <ac:spMkLst>
            <pc:docMk/>
            <pc:sldMk cId="981125185" sldId="2496"/>
            <ac:spMk id="105" creationId="{407438ED-8319-4A99-B72A-B22D58AC3705}"/>
          </ac:spMkLst>
        </pc:spChg>
        <pc:spChg chg="mod">
          <ac:chgData name="Müller, Kurt (SI BP S TSS ACD)" userId="e7e82c7e-80c6-42a5-ab71-24588885b7fe" providerId="ADAL" clId="{F6700264-7274-4DC9-BB6D-55AE9BA47D9A}" dt="2021-11-19T09:02:35.520" v="3959" actId="13926"/>
          <ac:spMkLst>
            <pc:docMk/>
            <pc:sldMk cId="981125185" sldId="2496"/>
            <ac:spMk id="106" creationId="{568D2ADE-E380-46DB-82AD-290E8528F85E}"/>
          </ac:spMkLst>
        </pc:spChg>
      </pc:sldChg>
      <pc:sldChg chg="addSp delSp modSp mod">
        <pc:chgData name="Müller, Kurt (SI BP S TSS ACD)" userId="e7e82c7e-80c6-42a5-ab71-24588885b7fe" providerId="ADAL" clId="{F6700264-7274-4DC9-BB6D-55AE9BA47D9A}" dt="2021-11-25T10:52:32.149" v="3965" actId="21"/>
        <pc:sldMkLst>
          <pc:docMk/>
          <pc:sldMk cId="4149499796" sldId="2576"/>
        </pc:sldMkLst>
        <pc:spChg chg="del">
          <ac:chgData name="Müller, Kurt (SI BP S TSS ACD)" userId="e7e82c7e-80c6-42a5-ab71-24588885b7fe" providerId="ADAL" clId="{F6700264-7274-4DC9-BB6D-55AE9BA47D9A}" dt="2021-11-16T18:26:56.190" v="518" actId="478"/>
          <ac:spMkLst>
            <pc:docMk/>
            <pc:sldMk cId="4149499796" sldId="2576"/>
            <ac:spMk id="71" creationId="{132404AE-DC87-4AF1-9F5E-A5F2252926C5}"/>
          </ac:spMkLst>
        </pc:spChg>
        <pc:picChg chg="mod">
          <ac:chgData name="Müller, Kurt (SI BP S TSS ACD)" userId="e7e82c7e-80c6-42a5-ab71-24588885b7fe" providerId="ADAL" clId="{F6700264-7274-4DC9-BB6D-55AE9BA47D9A}" dt="2021-11-25T10:52:20.140" v="3961" actId="1076"/>
          <ac:picMkLst>
            <pc:docMk/>
            <pc:sldMk cId="4149499796" sldId="2576"/>
            <ac:picMk id="6" creationId="{79037D49-C682-4EFB-99B6-9777C546A47A}"/>
          </ac:picMkLst>
        </pc:picChg>
        <pc:picChg chg="add del mod modCrop">
          <ac:chgData name="Müller, Kurt (SI BP S TSS ACD)" userId="e7e82c7e-80c6-42a5-ab71-24588885b7fe" providerId="ADAL" clId="{F6700264-7274-4DC9-BB6D-55AE9BA47D9A}" dt="2021-11-25T10:52:32.149" v="3965" actId="21"/>
          <ac:picMkLst>
            <pc:docMk/>
            <pc:sldMk cId="4149499796" sldId="2576"/>
            <ac:picMk id="71" creationId="{C4347959-000C-410E-8511-8F42E6D8E307}"/>
          </ac:picMkLst>
        </pc:picChg>
      </pc:sldChg>
      <pc:sldChg chg="addSp delSp modSp mod delAnim modAnim">
        <pc:chgData name="Müller, Kurt (SI BP S TSS ACD)" userId="e7e82c7e-80c6-42a5-ab71-24588885b7fe" providerId="ADAL" clId="{F6700264-7274-4DC9-BB6D-55AE9BA47D9A}" dt="2021-11-19T07:38:51.042" v="3347"/>
        <pc:sldMkLst>
          <pc:docMk/>
          <pc:sldMk cId="2812530155" sldId="2582"/>
        </pc:sldMkLst>
        <pc:spChg chg="mod">
          <ac:chgData name="Müller, Kurt (SI BP S TSS ACD)" userId="e7e82c7e-80c6-42a5-ab71-24588885b7fe" providerId="ADAL" clId="{F6700264-7274-4DC9-BB6D-55AE9BA47D9A}" dt="2021-11-17T15:14:25.833" v="924" actId="5793"/>
          <ac:spMkLst>
            <pc:docMk/>
            <pc:sldMk cId="2812530155" sldId="2582"/>
            <ac:spMk id="7" creationId="{F1C72932-A1AF-414C-AA2E-197BBE995B80}"/>
          </ac:spMkLst>
        </pc:spChg>
        <pc:spChg chg="add del mod">
          <ac:chgData name="Müller, Kurt (SI BP S TSS ACD)" userId="e7e82c7e-80c6-42a5-ab71-24588885b7fe" providerId="ADAL" clId="{F6700264-7274-4DC9-BB6D-55AE9BA47D9A}" dt="2021-11-19T07:38:30.339" v="3343" actId="478"/>
          <ac:spMkLst>
            <pc:docMk/>
            <pc:sldMk cId="2812530155" sldId="2582"/>
            <ac:spMk id="8" creationId="{DF08AD7B-4496-4CF2-9A13-E56D69F3B114}"/>
          </ac:spMkLst>
        </pc:spChg>
      </pc:sldChg>
      <pc:sldChg chg="delSp modSp mod modAnim">
        <pc:chgData name="Müller, Kurt (SI BP S TSS ACD)" userId="e7e82c7e-80c6-42a5-ab71-24588885b7fe" providerId="ADAL" clId="{F6700264-7274-4DC9-BB6D-55AE9BA47D9A}" dt="2021-11-18T16:23:12.323" v="3308"/>
        <pc:sldMkLst>
          <pc:docMk/>
          <pc:sldMk cId="2951595477" sldId="2583"/>
        </pc:sldMkLst>
        <pc:spChg chg="del mod">
          <ac:chgData name="Müller, Kurt (SI BP S TSS ACD)" userId="e7e82c7e-80c6-42a5-ab71-24588885b7fe" providerId="ADAL" clId="{F6700264-7274-4DC9-BB6D-55AE9BA47D9A}" dt="2021-11-17T14:53:29.539" v="738" actId="478"/>
          <ac:spMkLst>
            <pc:docMk/>
            <pc:sldMk cId="2951595477" sldId="2583"/>
            <ac:spMk id="2" creationId="{93B4ECA4-720E-4C1E-8ACB-BCF3FF7093B8}"/>
          </ac:spMkLst>
        </pc:spChg>
        <pc:spChg chg="mod">
          <ac:chgData name="Müller, Kurt (SI BP S TSS ACD)" userId="e7e82c7e-80c6-42a5-ab71-24588885b7fe" providerId="ADAL" clId="{F6700264-7274-4DC9-BB6D-55AE9BA47D9A}" dt="2021-11-18T16:23:04.836" v="3307" actId="20577"/>
          <ac:spMkLst>
            <pc:docMk/>
            <pc:sldMk cId="2951595477" sldId="2583"/>
            <ac:spMk id="7" creationId="{ACAB2C52-5885-4E21-B99C-8FB0774DE9B6}"/>
          </ac:spMkLst>
        </pc:spChg>
      </pc:sldChg>
      <pc:sldChg chg="modAnim">
        <pc:chgData name="Müller, Kurt (SI BP S TSS ACD)" userId="e7e82c7e-80c6-42a5-ab71-24588885b7fe" providerId="ADAL" clId="{F6700264-7274-4DC9-BB6D-55AE9BA47D9A}" dt="2021-11-17T17:52:29.232" v="2083"/>
        <pc:sldMkLst>
          <pc:docMk/>
          <pc:sldMk cId="1645637749" sldId="2589"/>
        </pc:sldMkLst>
      </pc:sldChg>
      <pc:sldChg chg="addSp delSp modSp mod">
        <pc:chgData name="Müller, Kurt (SI BP S TSS ACD)" userId="e7e82c7e-80c6-42a5-ab71-24588885b7fe" providerId="ADAL" clId="{F6700264-7274-4DC9-BB6D-55AE9BA47D9A}" dt="2021-11-18T09:09:47.852" v="2648" actId="1076"/>
        <pc:sldMkLst>
          <pc:docMk/>
          <pc:sldMk cId="3681144688" sldId="2591"/>
        </pc:sldMkLst>
        <pc:spChg chg="mod">
          <ac:chgData name="Müller, Kurt (SI BP S TSS ACD)" userId="e7e82c7e-80c6-42a5-ab71-24588885b7fe" providerId="ADAL" clId="{F6700264-7274-4DC9-BB6D-55AE9BA47D9A}" dt="2021-11-17T17:32:36.459" v="2009" actId="14100"/>
          <ac:spMkLst>
            <pc:docMk/>
            <pc:sldMk cId="3681144688" sldId="2591"/>
            <ac:spMk id="3" creationId="{50E17820-B62F-4719-80D9-FEC26EF1D72C}"/>
          </ac:spMkLst>
        </pc:spChg>
        <pc:spChg chg="mod">
          <ac:chgData name="Müller, Kurt (SI BP S TSS ACD)" userId="e7e82c7e-80c6-42a5-ab71-24588885b7fe" providerId="ADAL" clId="{F6700264-7274-4DC9-BB6D-55AE9BA47D9A}" dt="2021-11-17T17:30:19.345" v="1973" actId="1076"/>
          <ac:spMkLst>
            <pc:docMk/>
            <pc:sldMk cId="3681144688" sldId="2591"/>
            <ac:spMk id="5" creationId="{618BC5BB-E743-491A-B96D-A786D4047254}"/>
          </ac:spMkLst>
        </pc:spChg>
        <pc:spChg chg="mod">
          <ac:chgData name="Müller, Kurt (SI BP S TSS ACD)" userId="e7e82c7e-80c6-42a5-ab71-24588885b7fe" providerId="ADAL" clId="{F6700264-7274-4DC9-BB6D-55AE9BA47D9A}" dt="2021-11-17T17:30:19.345" v="1973" actId="1076"/>
          <ac:spMkLst>
            <pc:docMk/>
            <pc:sldMk cId="3681144688" sldId="2591"/>
            <ac:spMk id="7" creationId="{5AB10D47-02AA-4FF5-87A3-8DFB1DCE6F19}"/>
          </ac:spMkLst>
        </pc:spChg>
        <pc:spChg chg="mod">
          <ac:chgData name="Müller, Kurt (SI BP S TSS ACD)" userId="e7e82c7e-80c6-42a5-ab71-24588885b7fe" providerId="ADAL" clId="{F6700264-7274-4DC9-BB6D-55AE9BA47D9A}" dt="2021-11-17T17:30:19.345" v="1973" actId="1076"/>
          <ac:spMkLst>
            <pc:docMk/>
            <pc:sldMk cId="3681144688" sldId="2591"/>
            <ac:spMk id="8" creationId="{CA56E518-C201-4A13-991D-CE91B77882D2}"/>
          </ac:spMkLst>
        </pc:spChg>
        <pc:spChg chg="mod">
          <ac:chgData name="Müller, Kurt (SI BP S TSS ACD)" userId="e7e82c7e-80c6-42a5-ab71-24588885b7fe" providerId="ADAL" clId="{F6700264-7274-4DC9-BB6D-55AE9BA47D9A}" dt="2021-11-17T17:30:19.345" v="1973" actId="1076"/>
          <ac:spMkLst>
            <pc:docMk/>
            <pc:sldMk cId="3681144688" sldId="2591"/>
            <ac:spMk id="9" creationId="{99FDCE22-057F-4B3B-8370-831D097A89A1}"/>
          </ac:spMkLst>
        </pc:spChg>
        <pc:spChg chg="mod">
          <ac:chgData name="Müller, Kurt (SI BP S TSS ACD)" userId="e7e82c7e-80c6-42a5-ab71-24588885b7fe" providerId="ADAL" clId="{F6700264-7274-4DC9-BB6D-55AE9BA47D9A}" dt="2021-11-17T17:30:19.345" v="1973" actId="1076"/>
          <ac:spMkLst>
            <pc:docMk/>
            <pc:sldMk cId="3681144688" sldId="2591"/>
            <ac:spMk id="10" creationId="{8758E71B-5C55-46CE-9B4B-FDC1E2DFEDD2}"/>
          </ac:spMkLst>
        </pc:spChg>
        <pc:spChg chg="mod">
          <ac:chgData name="Müller, Kurt (SI BP S TSS ACD)" userId="e7e82c7e-80c6-42a5-ab71-24588885b7fe" providerId="ADAL" clId="{F6700264-7274-4DC9-BB6D-55AE9BA47D9A}" dt="2021-11-17T17:30:19.345" v="1973" actId="1076"/>
          <ac:spMkLst>
            <pc:docMk/>
            <pc:sldMk cId="3681144688" sldId="2591"/>
            <ac:spMk id="11" creationId="{5B3BF409-E605-4428-89F8-A53420CCF75B}"/>
          </ac:spMkLst>
        </pc:spChg>
        <pc:spChg chg="mod">
          <ac:chgData name="Müller, Kurt (SI BP S TSS ACD)" userId="e7e82c7e-80c6-42a5-ab71-24588885b7fe" providerId="ADAL" clId="{F6700264-7274-4DC9-BB6D-55AE9BA47D9A}" dt="2021-11-17T17:30:19.345" v="1973" actId="1076"/>
          <ac:spMkLst>
            <pc:docMk/>
            <pc:sldMk cId="3681144688" sldId="2591"/>
            <ac:spMk id="12" creationId="{A51C231D-74D2-432F-ADBF-C5279059D1EF}"/>
          </ac:spMkLst>
        </pc:spChg>
        <pc:spChg chg="mod">
          <ac:chgData name="Müller, Kurt (SI BP S TSS ACD)" userId="e7e82c7e-80c6-42a5-ab71-24588885b7fe" providerId="ADAL" clId="{F6700264-7274-4DC9-BB6D-55AE9BA47D9A}" dt="2021-11-17T17:30:19.345" v="1973" actId="1076"/>
          <ac:spMkLst>
            <pc:docMk/>
            <pc:sldMk cId="3681144688" sldId="2591"/>
            <ac:spMk id="13" creationId="{8D32599D-094A-41DB-85DB-A9E16CD8C0DF}"/>
          </ac:spMkLst>
        </pc:spChg>
        <pc:spChg chg="mod">
          <ac:chgData name="Müller, Kurt (SI BP S TSS ACD)" userId="e7e82c7e-80c6-42a5-ab71-24588885b7fe" providerId="ADAL" clId="{F6700264-7274-4DC9-BB6D-55AE9BA47D9A}" dt="2021-11-17T17:30:19.345" v="1973" actId="1076"/>
          <ac:spMkLst>
            <pc:docMk/>
            <pc:sldMk cId="3681144688" sldId="2591"/>
            <ac:spMk id="14" creationId="{A8F2A8ED-294C-4825-8FF9-5178D04D0243}"/>
          </ac:spMkLst>
        </pc:spChg>
        <pc:spChg chg="mod">
          <ac:chgData name="Müller, Kurt (SI BP S TSS ACD)" userId="e7e82c7e-80c6-42a5-ab71-24588885b7fe" providerId="ADAL" clId="{F6700264-7274-4DC9-BB6D-55AE9BA47D9A}" dt="2021-11-17T17:30:19.345" v="1973" actId="1076"/>
          <ac:spMkLst>
            <pc:docMk/>
            <pc:sldMk cId="3681144688" sldId="2591"/>
            <ac:spMk id="15" creationId="{530009EE-7CB0-451D-AA25-05A4A1EB4D08}"/>
          </ac:spMkLst>
        </pc:spChg>
        <pc:spChg chg="mod">
          <ac:chgData name="Müller, Kurt (SI BP S TSS ACD)" userId="e7e82c7e-80c6-42a5-ab71-24588885b7fe" providerId="ADAL" clId="{F6700264-7274-4DC9-BB6D-55AE9BA47D9A}" dt="2021-11-17T17:30:19.345" v="1973" actId="1076"/>
          <ac:spMkLst>
            <pc:docMk/>
            <pc:sldMk cId="3681144688" sldId="2591"/>
            <ac:spMk id="16" creationId="{96AAD7B2-D3CF-4E82-B272-37975E856803}"/>
          </ac:spMkLst>
        </pc:spChg>
        <pc:spChg chg="mod">
          <ac:chgData name="Müller, Kurt (SI BP S TSS ACD)" userId="e7e82c7e-80c6-42a5-ab71-24588885b7fe" providerId="ADAL" clId="{F6700264-7274-4DC9-BB6D-55AE9BA47D9A}" dt="2021-11-17T17:30:19.345" v="1973" actId="1076"/>
          <ac:spMkLst>
            <pc:docMk/>
            <pc:sldMk cId="3681144688" sldId="2591"/>
            <ac:spMk id="17" creationId="{3A114B16-487C-433B-83D9-39CC6A8A034D}"/>
          </ac:spMkLst>
        </pc:spChg>
        <pc:spChg chg="mod">
          <ac:chgData name="Müller, Kurt (SI BP S TSS ACD)" userId="e7e82c7e-80c6-42a5-ab71-24588885b7fe" providerId="ADAL" clId="{F6700264-7274-4DC9-BB6D-55AE9BA47D9A}" dt="2021-11-17T17:30:19.345" v="1973" actId="1076"/>
          <ac:spMkLst>
            <pc:docMk/>
            <pc:sldMk cId="3681144688" sldId="2591"/>
            <ac:spMk id="18" creationId="{DC1736D0-D716-4511-8A96-89D4F48DB159}"/>
          </ac:spMkLst>
        </pc:spChg>
        <pc:spChg chg="mod">
          <ac:chgData name="Müller, Kurt (SI BP S TSS ACD)" userId="e7e82c7e-80c6-42a5-ab71-24588885b7fe" providerId="ADAL" clId="{F6700264-7274-4DC9-BB6D-55AE9BA47D9A}" dt="2021-11-17T17:30:19.345" v="1973" actId="1076"/>
          <ac:spMkLst>
            <pc:docMk/>
            <pc:sldMk cId="3681144688" sldId="2591"/>
            <ac:spMk id="19" creationId="{A08CA6B0-AFFD-4184-A0E3-26A6E571994A}"/>
          </ac:spMkLst>
        </pc:spChg>
        <pc:spChg chg="mod">
          <ac:chgData name="Müller, Kurt (SI BP S TSS ACD)" userId="e7e82c7e-80c6-42a5-ab71-24588885b7fe" providerId="ADAL" clId="{F6700264-7274-4DC9-BB6D-55AE9BA47D9A}" dt="2021-11-17T17:30:19.345" v="1973" actId="1076"/>
          <ac:spMkLst>
            <pc:docMk/>
            <pc:sldMk cId="3681144688" sldId="2591"/>
            <ac:spMk id="20" creationId="{17FCB28D-8E03-4803-BF92-671CD3D175E7}"/>
          </ac:spMkLst>
        </pc:spChg>
        <pc:spChg chg="mod">
          <ac:chgData name="Müller, Kurt (SI BP S TSS ACD)" userId="e7e82c7e-80c6-42a5-ab71-24588885b7fe" providerId="ADAL" clId="{F6700264-7274-4DC9-BB6D-55AE9BA47D9A}" dt="2021-11-17T17:30:19.345" v="1973" actId="1076"/>
          <ac:spMkLst>
            <pc:docMk/>
            <pc:sldMk cId="3681144688" sldId="2591"/>
            <ac:spMk id="21" creationId="{D7A98369-0341-44E1-AA30-E25E288C7B3A}"/>
          </ac:spMkLst>
        </pc:spChg>
        <pc:spChg chg="mod">
          <ac:chgData name="Müller, Kurt (SI BP S TSS ACD)" userId="e7e82c7e-80c6-42a5-ab71-24588885b7fe" providerId="ADAL" clId="{F6700264-7274-4DC9-BB6D-55AE9BA47D9A}" dt="2021-11-17T17:30:19.345" v="1973" actId="1076"/>
          <ac:spMkLst>
            <pc:docMk/>
            <pc:sldMk cId="3681144688" sldId="2591"/>
            <ac:spMk id="22" creationId="{9D2D71EC-E043-4B8C-BC2E-0D66B2C64412}"/>
          </ac:spMkLst>
        </pc:spChg>
        <pc:spChg chg="mod">
          <ac:chgData name="Müller, Kurt (SI BP S TSS ACD)" userId="e7e82c7e-80c6-42a5-ab71-24588885b7fe" providerId="ADAL" clId="{F6700264-7274-4DC9-BB6D-55AE9BA47D9A}" dt="2021-11-17T17:30:19.345" v="1973" actId="1076"/>
          <ac:spMkLst>
            <pc:docMk/>
            <pc:sldMk cId="3681144688" sldId="2591"/>
            <ac:spMk id="23" creationId="{D772D5BA-8BDE-4FB7-9561-D07EF62CC4C5}"/>
          </ac:spMkLst>
        </pc:spChg>
        <pc:spChg chg="mod">
          <ac:chgData name="Müller, Kurt (SI BP S TSS ACD)" userId="e7e82c7e-80c6-42a5-ab71-24588885b7fe" providerId="ADAL" clId="{F6700264-7274-4DC9-BB6D-55AE9BA47D9A}" dt="2021-11-17T17:30:19.345" v="1973" actId="1076"/>
          <ac:spMkLst>
            <pc:docMk/>
            <pc:sldMk cId="3681144688" sldId="2591"/>
            <ac:spMk id="24" creationId="{310E1ACE-3E2F-4343-B4FD-664BA7FCC56B}"/>
          </ac:spMkLst>
        </pc:spChg>
        <pc:spChg chg="mod">
          <ac:chgData name="Müller, Kurt (SI BP S TSS ACD)" userId="e7e82c7e-80c6-42a5-ab71-24588885b7fe" providerId="ADAL" clId="{F6700264-7274-4DC9-BB6D-55AE9BA47D9A}" dt="2021-11-17T17:30:19.345" v="1973" actId="1076"/>
          <ac:spMkLst>
            <pc:docMk/>
            <pc:sldMk cId="3681144688" sldId="2591"/>
            <ac:spMk id="25" creationId="{BC177D13-53C0-445D-9C14-EF171D17E8C9}"/>
          </ac:spMkLst>
        </pc:spChg>
        <pc:spChg chg="mod">
          <ac:chgData name="Müller, Kurt (SI BP S TSS ACD)" userId="e7e82c7e-80c6-42a5-ab71-24588885b7fe" providerId="ADAL" clId="{F6700264-7274-4DC9-BB6D-55AE9BA47D9A}" dt="2021-11-17T17:30:19.345" v="1973" actId="1076"/>
          <ac:spMkLst>
            <pc:docMk/>
            <pc:sldMk cId="3681144688" sldId="2591"/>
            <ac:spMk id="26" creationId="{FBAF6E15-9A3C-4A70-A906-FB5E085AF6E2}"/>
          </ac:spMkLst>
        </pc:spChg>
        <pc:spChg chg="mod">
          <ac:chgData name="Müller, Kurt (SI BP S TSS ACD)" userId="e7e82c7e-80c6-42a5-ab71-24588885b7fe" providerId="ADAL" clId="{F6700264-7274-4DC9-BB6D-55AE9BA47D9A}" dt="2021-11-17T17:30:19.345" v="1973" actId="1076"/>
          <ac:spMkLst>
            <pc:docMk/>
            <pc:sldMk cId="3681144688" sldId="2591"/>
            <ac:spMk id="27" creationId="{5590B766-7C23-45D7-8D3B-0E918423F1F4}"/>
          </ac:spMkLst>
        </pc:spChg>
        <pc:spChg chg="mod">
          <ac:chgData name="Müller, Kurt (SI BP S TSS ACD)" userId="e7e82c7e-80c6-42a5-ab71-24588885b7fe" providerId="ADAL" clId="{F6700264-7274-4DC9-BB6D-55AE9BA47D9A}" dt="2021-11-17T17:30:19.345" v="1973" actId="1076"/>
          <ac:spMkLst>
            <pc:docMk/>
            <pc:sldMk cId="3681144688" sldId="2591"/>
            <ac:spMk id="28" creationId="{8786A8BC-D729-430D-A113-86844196DF24}"/>
          </ac:spMkLst>
        </pc:spChg>
        <pc:spChg chg="mod">
          <ac:chgData name="Müller, Kurt (SI BP S TSS ACD)" userId="e7e82c7e-80c6-42a5-ab71-24588885b7fe" providerId="ADAL" clId="{F6700264-7274-4DC9-BB6D-55AE9BA47D9A}" dt="2021-11-17T17:30:19.345" v="1973" actId="1076"/>
          <ac:spMkLst>
            <pc:docMk/>
            <pc:sldMk cId="3681144688" sldId="2591"/>
            <ac:spMk id="29" creationId="{DB8B2D7F-1447-4210-A11D-A8E7E7BF01F8}"/>
          </ac:spMkLst>
        </pc:spChg>
        <pc:spChg chg="mod">
          <ac:chgData name="Müller, Kurt (SI BP S TSS ACD)" userId="e7e82c7e-80c6-42a5-ab71-24588885b7fe" providerId="ADAL" clId="{F6700264-7274-4DC9-BB6D-55AE9BA47D9A}" dt="2021-11-17T17:30:19.345" v="1973" actId="1076"/>
          <ac:spMkLst>
            <pc:docMk/>
            <pc:sldMk cId="3681144688" sldId="2591"/>
            <ac:spMk id="30" creationId="{DD99F1C8-DED8-426D-8E9A-82A508D10756}"/>
          </ac:spMkLst>
        </pc:spChg>
        <pc:spChg chg="mod">
          <ac:chgData name="Müller, Kurt (SI BP S TSS ACD)" userId="e7e82c7e-80c6-42a5-ab71-24588885b7fe" providerId="ADAL" clId="{F6700264-7274-4DC9-BB6D-55AE9BA47D9A}" dt="2021-11-17T17:30:19.345" v="1973" actId="1076"/>
          <ac:spMkLst>
            <pc:docMk/>
            <pc:sldMk cId="3681144688" sldId="2591"/>
            <ac:spMk id="31" creationId="{C529E02F-1EBC-4AFA-A717-CA4CEC82FC1D}"/>
          </ac:spMkLst>
        </pc:spChg>
        <pc:spChg chg="mod">
          <ac:chgData name="Müller, Kurt (SI BP S TSS ACD)" userId="e7e82c7e-80c6-42a5-ab71-24588885b7fe" providerId="ADAL" clId="{F6700264-7274-4DC9-BB6D-55AE9BA47D9A}" dt="2021-11-17T17:30:19.345" v="1973" actId="1076"/>
          <ac:spMkLst>
            <pc:docMk/>
            <pc:sldMk cId="3681144688" sldId="2591"/>
            <ac:spMk id="32" creationId="{F4EB7940-70BD-4C6A-88EF-39AD6FF93566}"/>
          </ac:spMkLst>
        </pc:spChg>
        <pc:spChg chg="mod">
          <ac:chgData name="Müller, Kurt (SI BP S TSS ACD)" userId="e7e82c7e-80c6-42a5-ab71-24588885b7fe" providerId="ADAL" clId="{F6700264-7274-4DC9-BB6D-55AE9BA47D9A}" dt="2021-11-17T17:30:19.345" v="1973" actId="1076"/>
          <ac:spMkLst>
            <pc:docMk/>
            <pc:sldMk cId="3681144688" sldId="2591"/>
            <ac:spMk id="33" creationId="{2779DCB1-8B25-4E29-B822-4996851E6905}"/>
          </ac:spMkLst>
        </pc:spChg>
        <pc:spChg chg="mod">
          <ac:chgData name="Müller, Kurt (SI BP S TSS ACD)" userId="e7e82c7e-80c6-42a5-ab71-24588885b7fe" providerId="ADAL" clId="{F6700264-7274-4DC9-BB6D-55AE9BA47D9A}" dt="2021-11-17T17:30:19.345" v="1973" actId="1076"/>
          <ac:spMkLst>
            <pc:docMk/>
            <pc:sldMk cId="3681144688" sldId="2591"/>
            <ac:spMk id="34" creationId="{E420B9AF-8EE9-4ADC-BCF4-00380229B54F}"/>
          </ac:spMkLst>
        </pc:spChg>
        <pc:spChg chg="mod">
          <ac:chgData name="Müller, Kurt (SI BP S TSS ACD)" userId="e7e82c7e-80c6-42a5-ab71-24588885b7fe" providerId="ADAL" clId="{F6700264-7274-4DC9-BB6D-55AE9BA47D9A}" dt="2021-11-17T17:30:19.345" v="1973" actId="1076"/>
          <ac:spMkLst>
            <pc:docMk/>
            <pc:sldMk cId="3681144688" sldId="2591"/>
            <ac:spMk id="35" creationId="{275AE3D2-8BF6-409D-9BEE-7F74BBF18F54}"/>
          </ac:spMkLst>
        </pc:spChg>
        <pc:spChg chg="mod">
          <ac:chgData name="Müller, Kurt (SI BP S TSS ACD)" userId="e7e82c7e-80c6-42a5-ab71-24588885b7fe" providerId="ADAL" clId="{F6700264-7274-4DC9-BB6D-55AE9BA47D9A}" dt="2021-11-17T17:30:19.345" v="1973" actId="1076"/>
          <ac:spMkLst>
            <pc:docMk/>
            <pc:sldMk cId="3681144688" sldId="2591"/>
            <ac:spMk id="36" creationId="{D61DB279-2E8F-4845-A6E9-EF50FB6D49A0}"/>
          </ac:spMkLst>
        </pc:spChg>
        <pc:spChg chg="mod">
          <ac:chgData name="Müller, Kurt (SI BP S TSS ACD)" userId="e7e82c7e-80c6-42a5-ab71-24588885b7fe" providerId="ADAL" clId="{F6700264-7274-4DC9-BB6D-55AE9BA47D9A}" dt="2021-11-17T17:30:19.345" v="1973" actId="1076"/>
          <ac:spMkLst>
            <pc:docMk/>
            <pc:sldMk cId="3681144688" sldId="2591"/>
            <ac:spMk id="37" creationId="{F9053118-CC56-4C96-9D84-17365CBBE279}"/>
          </ac:spMkLst>
        </pc:spChg>
        <pc:spChg chg="mod">
          <ac:chgData name="Müller, Kurt (SI BP S TSS ACD)" userId="e7e82c7e-80c6-42a5-ab71-24588885b7fe" providerId="ADAL" clId="{F6700264-7274-4DC9-BB6D-55AE9BA47D9A}" dt="2021-11-17T17:30:19.345" v="1973" actId="1076"/>
          <ac:spMkLst>
            <pc:docMk/>
            <pc:sldMk cId="3681144688" sldId="2591"/>
            <ac:spMk id="38" creationId="{7C7A1F15-1468-433F-95AF-B8886A8A3F0A}"/>
          </ac:spMkLst>
        </pc:spChg>
        <pc:spChg chg="mod">
          <ac:chgData name="Müller, Kurt (SI BP S TSS ACD)" userId="e7e82c7e-80c6-42a5-ab71-24588885b7fe" providerId="ADAL" clId="{F6700264-7274-4DC9-BB6D-55AE9BA47D9A}" dt="2021-11-17T17:30:19.345" v="1973" actId="1076"/>
          <ac:spMkLst>
            <pc:docMk/>
            <pc:sldMk cId="3681144688" sldId="2591"/>
            <ac:spMk id="39" creationId="{827DC27A-7E89-40E1-8F3F-D08E7DD36666}"/>
          </ac:spMkLst>
        </pc:spChg>
        <pc:spChg chg="mod">
          <ac:chgData name="Müller, Kurt (SI BP S TSS ACD)" userId="e7e82c7e-80c6-42a5-ab71-24588885b7fe" providerId="ADAL" clId="{F6700264-7274-4DC9-BB6D-55AE9BA47D9A}" dt="2021-11-17T17:30:19.345" v="1973" actId="1076"/>
          <ac:spMkLst>
            <pc:docMk/>
            <pc:sldMk cId="3681144688" sldId="2591"/>
            <ac:spMk id="40" creationId="{A5AB46D3-18A7-42FF-A7FD-268D056462FF}"/>
          </ac:spMkLst>
        </pc:spChg>
        <pc:spChg chg="mod">
          <ac:chgData name="Müller, Kurt (SI BP S TSS ACD)" userId="e7e82c7e-80c6-42a5-ab71-24588885b7fe" providerId="ADAL" clId="{F6700264-7274-4DC9-BB6D-55AE9BA47D9A}" dt="2021-11-17T17:30:19.345" v="1973" actId="1076"/>
          <ac:spMkLst>
            <pc:docMk/>
            <pc:sldMk cId="3681144688" sldId="2591"/>
            <ac:spMk id="41" creationId="{81119C54-984D-4D15-904B-592D2C84CC33}"/>
          </ac:spMkLst>
        </pc:spChg>
        <pc:spChg chg="mod">
          <ac:chgData name="Müller, Kurt (SI BP S TSS ACD)" userId="e7e82c7e-80c6-42a5-ab71-24588885b7fe" providerId="ADAL" clId="{F6700264-7274-4DC9-BB6D-55AE9BA47D9A}" dt="2021-11-17T17:30:19.345" v="1973" actId="1076"/>
          <ac:spMkLst>
            <pc:docMk/>
            <pc:sldMk cId="3681144688" sldId="2591"/>
            <ac:spMk id="42" creationId="{6E127572-247F-4A43-B17C-6302419D16BC}"/>
          </ac:spMkLst>
        </pc:spChg>
        <pc:spChg chg="mod">
          <ac:chgData name="Müller, Kurt (SI BP S TSS ACD)" userId="e7e82c7e-80c6-42a5-ab71-24588885b7fe" providerId="ADAL" clId="{F6700264-7274-4DC9-BB6D-55AE9BA47D9A}" dt="2021-11-17T17:30:19.345" v="1973" actId="1076"/>
          <ac:spMkLst>
            <pc:docMk/>
            <pc:sldMk cId="3681144688" sldId="2591"/>
            <ac:spMk id="43" creationId="{31470DBE-64AF-495A-A56C-14BF1D566C8B}"/>
          </ac:spMkLst>
        </pc:spChg>
        <pc:spChg chg="mod">
          <ac:chgData name="Müller, Kurt (SI BP S TSS ACD)" userId="e7e82c7e-80c6-42a5-ab71-24588885b7fe" providerId="ADAL" clId="{F6700264-7274-4DC9-BB6D-55AE9BA47D9A}" dt="2021-11-17T17:30:19.345" v="1973" actId="1076"/>
          <ac:spMkLst>
            <pc:docMk/>
            <pc:sldMk cId="3681144688" sldId="2591"/>
            <ac:spMk id="44" creationId="{A3A48140-FC68-44BA-A035-BD2F0DA894CD}"/>
          </ac:spMkLst>
        </pc:spChg>
        <pc:spChg chg="mod">
          <ac:chgData name="Müller, Kurt (SI BP S TSS ACD)" userId="e7e82c7e-80c6-42a5-ab71-24588885b7fe" providerId="ADAL" clId="{F6700264-7274-4DC9-BB6D-55AE9BA47D9A}" dt="2021-11-17T17:30:19.345" v="1973" actId="1076"/>
          <ac:spMkLst>
            <pc:docMk/>
            <pc:sldMk cId="3681144688" sldId="2591"/>
            <ac:spMk id="45" creationId="{20D0A579-F1BB-46CE-925D-1C9CDB772D81}"/>
          </ac:spMkLst>
        </pc:spChg>
        <pc:spChg chg="mod">
          <ac:chgData name="Müller, Kurt (SI BP S TSS ACD)" userId="e7e82c7e-80c6-42a5-ab71-24588885b7fe" providerId="ADAL" clId="{F6700264-7274-4DC9-BB6D-55AE9BA47D9A}" dt="2021-11-17T17:30:19.345" v="1973" actId="1076"/>
          <ac:spMkLst>
            <pc:docMk/>
            <pc:sldMk cId="3681144688" sldId="2591"/>
            <ac:spMk id="46" creationId="{7570F70B-DBF6-4F16-B78E-F6D61B27C596}"/>
          </ac:spMkLst>
        </pc:spChg>
        <pc:spChg chg="mod">
          <ac:chgData name="Müller, Kurt (SI BP S TSS ACD)" userId="e7e82c7e-80c6-42a5-ab71-24588885b7fe" providerId="ADAL" clId="{F6700264-7274-4DC9-BB6D-55AE9BA47D9A}" dt="2021-11-17T17:30:19.345" v="1973" actId="1076"/>
          <ac:spMkLst>
            <pc:docMk/>
            <pc:sldMk cId="3681144688" sldId="2591"/>
            <ac:spMk id="47" creationId="{CECBB97B-C950-4666-9839-F2D7E79F8C7D}"/>
          </ac:spMkLst>
        </pc:spChg>
        <pc:spChg chg="mod">
          <ac:chgData name="Müller, Kurt (SI BP S TSS ACD)" userId="e7e82c7e-80c6-42a5-ab71-24588885b7fe" providerId="ADAL" clId="{F6700264-7274-4DC9-BB6D-55AE9BA47D9A}" dt="2021-11-17T17:30:19.345" v="1973" actId="1076"/>
          <ac:spMkLst>
            <pc:docMk/>
            <pc:sldMk cId="3681144688" sldId="2591"/>
            <ac:spMk id="48" creationId="{67457EBA-E358-4584-9471-0E73905C4A8D}"/>
          </ac:spMkLst>
        </pc:spChg>
        <pc:spChg chg="mod">
          <ac:chgData name="Müller, Kurt (SI BP S TSS ACD)" userId="e7e82c7e-80c6-42a5-ab71-24588885b7fe" providerId="ADAL" clId="{F6700264-7274-4DC9-BB6D-55AE9BA47D9A}" dt="2021-11-17T17:28:48.873" v="1934" actId="164"/>
          <ac:spMkLst>
            <pc:docMk/>
            <pc:sldMk cId="3681144688" sldId="2591"/>
            <ac:spMk id="51" creationId="{4D3467B1-DFE1-49B5-B33F-52D5545519EA}"/>
          </ac:spMkLst>
        </pc:spChg>
        <pc:spChg chg="mod">
          <ac:chgData name="Müller, Kurt (SI BP S TSS ACD)" userId="e7e82c7e-80c6-42a5-ab71-24588885b7fe" providerId="ADAL" clId="{F6700264-7274-4DC9-BB6D-55AE9BA47D9A}" dt="2021-11-18T08:40:41.862" v="2486" actId="20577"/>
          <ac:spMkLst>
            <pc:docMk/>
            <pc:sldMk cId="3681144688" sldId="2591"/>
            <ac:spMk id="76" creationId="{17BB12BD-1EA4-4D04-A0E0-80A90B0D552B}"/>
          </ac:spMkLst>
        </pc:spChg>
        <pc:spChg chg="del">
          <ac:chgData name="Müller, Kurt (SI BP S TSS ACD)" userId="e7e82c7e-80c6-42a5-ab71-24588885b7fe" providerId="ADAL" clId="{F6700264-7274-4DC9-BB6D-55AE9BA47D9A}" dt="2021-11-17T15:59:48.010" v="1772" actId="478"/>
          <ac:spMkLst>
            <pc:docMk/>
            <pc:sldMk cId="3681144688" sldId="2591"/>
            <ac:spMk id="77" creationId="{66B7AC1D-FE90-44B8-AAA0-8B6605742DE4}"/>
          </ac:spMkLst>
        </pc:spChg>
        <pc:grpChg chg="mod">
          <ac:chgData name="Müller, Kurt (SI BP S TSS ACD)" userId="e7e82c7e-80c6-42a5-ab71-24588885b7fe" providerId="ADAL" clId="{F6700264-7274-4DC9-BB6D-55AE9BA47D9A}" dt="2021-11-17T17:30:19.345" v="1973" actId="1076"/>
          <ac:grpSpMkLst>
            <pc:docMk/>
            <pc:sldMk cId="3681144688" sldId="2591"/>
            <ac:grpSpMk id="4" creationId="{9591BF25-6260-4F50-8819-B87FDCC8F156}"/>
          </ac:grpSpMkLst>
        </pc:grpChg>
        <pc:grpChg chg="mod">
          <ac:chgData name="Müller, Kurt (SI BP S TSS ACD)" userId="e7e82c7e-80c6-42a5-ab71-24588885b7fe" providerId="ADAL" clId="{F6700264-7274-4DC9-BB6D-55AE9BA47D9A}" dt="2021-11-17T17:30:19.345" v="1973" actId="1076"/>
          <ac:grpSpMkLst>
            <pc:docMk/>
            <pc:sldMk cId="3681144688" sldId="2591"/>
            <ac:grpSpMk id="6" creationId="{BF7FB7FA-2F26-4DBA-9860-AFD51E61E3F3}"/>
          </ac:grpSpMkLst>
        </pc:grpChg>
        <pc:grpChg chg="add mod">
          <ac:chgData name="Müller, Kurt (SI BP S TSS ACD)" userId="e7e82c7e-80c6-42a5-ab71-24588885b7fe" providerId="ADAL" clId="{F6700264-7274-4DC9-BB6D-55AE9BA47D9A}" dt="2021-11-18T09:09:47.852" v="2648" actId="1076"/>
          <ac:grpSpMkLst>
            <pc:docMk/>
            <pc:sldMk cId="3681144688" sldId="2591"/>
            <ac:grpSpMk id="49" creationId="{E76DDDAE-A6C4-44BD-8C7E-B934A76A622F}"/>
          </ac:grpSpMkLst>
        </pc:grpChg>
        <pc:picChg chg="mod">
          <ac:chgData name="Müller, Kurt (SI BP S TSS ACD)" userId="e7e82c7e-80c6-42a5-ab71-24588885b7fe" providerId="ADAL" clId="{F6700264-7274-4DC9-BB6D-55AE9BA47D9A}" dt="2021-11-17T17:28:48.873" v="1934" actId="164"/>
          <ac:picMkLst>
            <pc:docMk/>
            <pc:sldMk cId="3681144688" sldId="2591"/>
            <ac:picMk id="50" creationId="{89FCCCBB-ED13-4399-8A7E-860876127743}"/>
          </ac:picMkLst>
        </pc:picChg>
      </pc:sldChg>
      <pc:sldChg chg="addSp delSp modSp mod">
        <pc:chgData name="Müller, Kurt (SI BP S TSS ACD)" userId="e7e82c7e-80c6-42a5-ab71-24588885b7fe" providerId="ADAL" clId="{F6700264-7274-4DC9-BB6D-55AE9BA47D9A}" dt="2021-11-18T09:25:00.388" v="2825" actId="20577"/>
        <pc:sldMkLst>
          <pc:docMk/>
          <pc:sldMk cId="709573458" sldId="2593"/>
        </pc:sldMkLst>
        <pc:spChg chg="mod">
          <ac:chgData name="Müller, Kurt (SI BP S TSS ACD)" userId="e7e82c7e-80c6-42a5-ab71-24588885b7fe" providerId="ADAL" clId="{F6700264-7274-4DC9-BB6D-55AE9BA47D9A}" dt="2021-11-18T09:25:00.388" v="2825" actId="20577"/>
          <ac:spMkLst>
            <pc:docMk/>
            <pc:sldMk cId="709573458" sldId="2593"/>
            <ac:spMk id="3" creationId="{50E17820-B62F-4719-80D9-FEC26EF1D72C}"/>
          </ac:spMkLst>
        </pc:spChg>
        <pc:spChg chg="mod topLvl">
          <ac:chgData name="Müller, Kurt (SI BP S TSS ACD)" userId="e7e82c7e-80c6-42a5-ab71-24588885b7fe" providerId="ADAL" clId="{F6700264-7274-4DC9-BB6D-55AE9BA47D9A}" dt="2021-11-17T17:42:59.810" v="2048" actId="164"/>
          <ac:spMkLst>
            <pc:docMk/>
            <pc:sldMk cId="709573458" sldId="2593"/>
            <ac:spMk id="5" creationId="{B47A159C-59AB-479F-82A9-ECECEBFEBEB8}"/>
          </ac:spMkLst>
        </pc:spChg>
        <pc:spChg chg="add mod">
          <ac:chgData name="Müller, Kurt (SI BP S TSS ACD)" userId="e7e82c7e-80c6-42a5-ab71-24588885b7fe" providerId="ADAL" clId="{F6700264-7274-4DC9-BB6D-55AE9BA47D9A}" dt="2021-11-17T17:44:32.146" v="2081" actId="1076"/>
          <ac:spMkLst>
            <pc:docMk/>
            <pc:sldMk cId="709573458" sldId="2593"/>
            <ac:spMk id="13" creationId="{6B9A4395-6C8D-4037-9A90-1770EB2F2E33}"/>
          </ac:spMkLst>
        </pc:spChg>
        <pc:grpChg chg="add mod">
          <ac:chgData name="Müller, Kurt (SI BP S TSS ACD)" userId="e7e82c7e-80c6-42a5-ab71-24588885b7fe" providerId="ADAL" clId="{F6700264-7274-4DC9-BB6D-55AE9BA47D9A}" dt="2021-11-17T17:43:32.896" v="2055" actId="1076"/>
          <ac:grpSpMkLst>
            <pc:docMk/>
            <pc:sldMk cId="709573458" sldId="2593"/>
            <ac:grpSpMk id="6" creationId="{8363AC73-89BB-4BA6-B05E-2D0E9152F51E}"/>
          </ac:grpSpMkLst>
        </pc:grpChg>
        <pc:grpChg chg="del">
          <ac:chgData name="Müller, Kurt (SI BP S TSS ACD)" userId="e7e82c7e-80c6-42a5-ab71-24588885b7fe" providerId="ADAL" clId="{F6700264-7274-4DC9-BB6D-55AE9BA47D9A}" dt="2021-11-17T17:42:32.164" v="2044" actId="165"/>
          <ac:grpSpMkLst>
            <pc:docMk/>
            <pc:sldMk cId="709573458" sldId="2593"/>
            <ac:grpSpMk id="15" creationId="{622F59AA-C1CB-46A1-AA1C-D70CEFB02AAE}"/>
          </ac:grpSpMkLst>
        </pc:grpChg>
        <pc:picChg chg="mod topLvl">
          <ac:chgData name="Müller, Kurt (SI BP S TSS ACD)" userId="e7e82c7e-80c6-42a5-ab71-24588885b7fe" providerId="ADAL" clId="{F6700264-7274-4DC9-BB6D-55AE9BA47D9A}" dt="2021-11-17T17:42:59.810" v="2048" actId="164"/>
          <ac:picMkLst>
            <pc:docMk/>
            <pc:sldMk cId="709573458" sldId="2593"/>
            <ac:picMk id="4" creationId="{637E4941-E587-4FF2-9C40-9B45A22B726E}"/>
          </ac:picMkLst>
        </pc:picChg>
        <pc:picChg chg="mod">
          <ac:chgData name="Müller, Kurt (SI BP S TSS ACD)" userId="e7e82c7e-80c6-42a5-ab71-24588885b7fe" providerId="ADAL" clId="{F6700264-7274-4DC9-BB6D-55AE9BA47D9A}" dt="2021-11-17T17:44:08.352" v="2072" actId="1076"/>
          <ac:picMkLst>
            <pc:docMk/>
            <pc:sldMk cId="709573458" sldId="2593"/>
            <ac:picMk id="10" creationId="{D7000CD7-AE8E-4D3B-83AA-9A77DD38B160}"/>
          </ac:picMkLst>
        </pc:picChg>
        <pc:picChg chg="mod">
          <ac:chgData name="Müller, Kurt (SI BP S TSS ACD)" userId="e7e82c7e-80c6-42a5-ab71-24588885b7fe" providerId="ADAL" clId="{F6700264-7274-4DC9-BB6D-55AE9BA47D9A}" dt="2021-11-17T17:42:59.810" v="2048" actId="164"/>
          <ac:picMkLst>
            <pc:docMk/>
            <pc:sldMk cId="709573458" sldId="2593"/>
            <ac:picMk id="18" creationId="{1F091D5C-073C-4479-8E6A-FC66DD6A76F3}"/>
          </ac:picMkLst>
        </pc:picChg>
        <pc:cxnChg chg="mod">
          <ac:chgData name="Müller, Kurt (SI BP S TSS ACD)" userId="e7e82c7e-80c6-42a5-ab71-24588885b7fe" providerId="ADAL" clId="{F6700264-7274-4DC9-BB6D-55AE9BA47D9A}" dt="2021-11-17T17:42:59.810" v="2048" actId="164"/>
          <ac:cxnSpMkLst>
            <pc:docMk/>
            <pc:sldMk cId="709573458" sldId="2593"/>
            <ac:cxnSpMk id="19" creationId="{36C08AFF-3774-4B00-99AD-93DE75F38142}"/>
          </ac:cxnSpMkLst>
        </pc:cxnChg>
      </pc:sldChg>
      <pc:sldChg chg="addSp modSp mod">
        <pc:chgData name="Müller, Kurt (SI BP S TSS ACD)" userId="e7e82c7e-80c6-42a5-ab71-24588885b7fe" providerId="ADAL" clId="{F6700264-7274-4DC9-BB6D-55AE9BA47D9A}" dt="2021-11-18T08:36:01.849" v="2467" actId="20577"/>
        <pc:sldMkLst>
          <pc:docMk/>
          <pc:sldMk cId="4120696066" sldId="2595"/>
        </pc:sldMkLst>
        <pc:spChg chg="add mod">
          <ac:chgData name="Müller, Kurt (SI BP S TSS ACD)" userId="e7e82c7e-80c6-42a5-ab71-24588885b7fe" providerId="ADAL" clId="{F6700264-7274-4DC9-BB6D-55AE9BA47D9A}" dt="2021-11-17T17:26:51.840" v="1926" actId="14100"/>
          <ac:spMkLst>
            <pc:docMk/>
            <pc:sldMk cId="4120696066" sldId="2595"/>
            <ac:spMk id="3" creationId="{C25BD9AC-8EF3-4D9F-8380-694F3DCC500D}"/>
          </ac:spMkLst>
        </pc:spChg>
        <pc:spChg chg="add mod">
          <ac:chgData name="Müller, Kurt (SI BP S TSS ACD)" userId="e7e82c7e-80c6-42a5-ab71-24588885b7fe" providerId="ADAL" clId="{F6700264-7274-4DC9-BB6D-55AE9BA47D9A}" dt="2021-11-18T08:30:16.192" v="2354" actId="207"/>
          <ac:spMkLst>
            <pc:docMk/>
            <pc:sldMk cId="4120696066" sldId="2595"/>
            <ac:spMk id="4" creationId="{C912BE9B-6CC5-49CB-8BA9-39581B1B4CB4}"/>
          </ac:spMkLst>
        </pc:spChg>
        <pc:spChg chg="mod">
          <ac:chgData name="Müller, Kurt (SI BP S TSS ACD)" userId="e7e82c7e-80c6-42a5-ab71-24588885b7fe" providerId="ADAL" clId="{F6700264-7274-4DC9-BB6D-55AE9BA47D9A}" dt="2021-11-18T08:36:01.849" v="2467" actId="20577"/>
          <ac:spMkLst>
            <pc:docMk/>
            <pc:sldMk cId="4120696066" sldId="2595"/>
            <ac:spMk id="6" creationId="{A097853C-E432-418B-9375-8CAF4B1A7DE3}"/>
          </ac:spMkLst>
        </pc:spChg>
        <pc:spChg chg="mod">
          <ac:chgData name="Müller, Kurt (SI BP S TSS ACD)" userId="e7e82c7e-80c6-42a5-ab71-24588885b7fe" providerId="ADAL" clId="{F6700264-7274-4DC9-BB6D-55AE9BA47D9A}" dt="2021-11-18T08:34:32.789" v="2402" actId="313"/>
          <ac:spMkLst>
            <pc:docMk/>
            <pc:sldMk cId="4120696066" sldId="2595"/>
            <ac:spMk id="8" creationId="{3A0F807B-08AE-46F1-ACF0-21B750093F26}"/>
          </ac:spMkLst>
        </pc:spChg>
        <pc:spChg chg="mod">
          <ac:chgData name="Müller, Kurt (SI BP S TSS ACD)" userId="e7e82c7e-80c6-42a5-ab71-24588885b7fe" providerId="ADAL" clId="{F6700264-7274-4DC9-BB6D-55AE9BA47D9A}" dt="2021-11-18T08:34:58.275" v="2433" actId="20577"/>
          <ac:spMkLst>
            <pc:docMk/>
            <pc:sldMk cId="4120696066" sldId="2595"/>
            <ac:spMk id="10" creationId="{4A66B3DC-5784-48A3-A689-AC820E5BD404}"/>
          </ac:spMkLst>
        </pc:spChg>
        <pc:spChg chg="add mod">
          <ac:chgData name="Müller, Kurt (SI BP S TSS ACD)" userId="e7e82c7e-80c6-42a5-ab71-24588885b7fe" providerId="ADAL" clId="{F6700264-7274-4DC9-BB6D-55AE9BA47D9A}" dt="2021-11-17T17:27:02.659" v="1932" actId="1036"/>
          <ac:spMkLst>
            <pc:docMk/>
            <pc:sldMk cId="4120696066" sldId="2595"/>
            <ac:spMk id="12" creationId="{F48B559F-E461-438D-81D0-7DB4B3B3B1A8}"/>
          </ac:spMkLst>
        </pc:spChg>
        <pc:spChg chg="add mod">
          <ac:chgData name="Müller, Kurt (SI BP S TSS ACD)" userId="e7e82c7e-80c6-42a5-ab71-24588885b7fe" providerId="ADAL" clId="{F6700264-7274-4DC9-BB6D-55AE9BA47D9A}" dt="2021-11-18T08:30:22.379" v="2355" actId="571"/>
          <ac:spMkLst>
            <pc:docMk/>
            <pc:sldMk cId="4120696066" sldId="2595"/>
            <ac:spMk id="13" creationId="{8DA47158-A553-4B55-A3CF-879816234FCD}"/>
          </ac:spMkLst>
        </pc:spChg>
        <pc:picChg chg="mod">
          <ac:chgData name="Müller, Kurt (SI BP S TSS ACD)" userId="e7e82c7e-80c6-42a5-ab71-24588885b7fe" providerId="ADAL" clId="{F6700264-7274-4DC9-BB6D-55AE9BA47D9A}" dt="2021-11-17T17:25:36.632" v="1910" actId="1076"/>
          <ac:picMkLst>
            <pc:docMk/>
            <pc:sldMk cId="4120696066" sldId="2595"/>
            <ac:picMk id="7" creationId="{77BA4E8C-BDE5-4F9E-8C9B-6EF2BFC0382C}"/>
          </ac:picMkLst>
        </pc:picChg>
        <pc:picChg chg="mod">
          <ac:chgData name="Müller, Kurt (SI BP S TSS ACD)" userId="e7e82c7e-80c6-42a5-ab71-24588885b7fe" providerId="ADAL" clId="{F6700264-7274-4DC9-BB6D-55AE9BA47D9A}" dt="2021-11-17T17:25:39.553" v="1911" actId="1076"/>
          <ac:picMkLst>
            <pc:docMk/>
            <pc:sldMk cId="4120696066" sldId="2595"/>
            <ac:picMk id="9" creationId="{2E47C6E9-0B2D-43CB-BB92-59FC953AA001}"/>
          </ac:picMkLst>
        </pc:picChg>
      </pc:sldChg>
      <pc:sldChg chg="addSp delSp modSp mod modAnim">
        <pc:chgData name="Müller, Kurt (SI BP S TSS ACD)" userId="e7e82c7e-80c6-42a5-ab71-24588885b7fe" providerId="ADAL" clId="{F6700264-7274-4DC9-BB6D-55AE9BA47D9A}" dt="2021-11-18T14:24:04.002" v="3293"/>
        <pc:sldMkLst>
          <pc:docMk/>
          <pc:sldMk cId="2117204231" sldId="2597"/>
        </pc:sldMkLst>
        <pc:spChg chg="add del mod">
          <ac:chgData name="Müller, Kurt (SI BP S TSS ACD)" userId="e7e82c7e-80c6-42a5-ab71-24588885b7fe" providerId="ADAL" clId="{F6700264-7274-4DC9-BB6D-55AE9BA47D9A}" dt="2021-11-17T16:15:39.208" v="1862" actId="478"/>
          <ac:spMkLst>
            <pc:docMk/>
            <pc:sldMk cId="2117204231" sldId="2597"/>
            <ac:spMk id="3" creationId="{C74E1342-0887-409F-BBAB-4272DDBB0658}"/>
          </ac:spMkLst>
        </pc:spChg>
        <pc:spChg chg="mod">
          <ac:chgData name="Müller, Kurt (SI BP S TSS ACD)" userId="e7e82c7e-80c6-42a5-ab71-24588885b7fe" providerId="ADAL" clId="{F6700264-7274-4DC9-BB6D-55AE9BA47D9A}" dt="2021-11-17T17:17:23.272" v="1903" actId="1076"/>
          <ac:spMkLst>
            <pc:docMk/>
            <pc:sldMk cId="2117204231" sldId="2597"/>
            <ac:spMk id="5" creationId="{D5EA6498-0631-42A2-A599-E6D6652B5078}"/>
          </ac:spMkLst>
        </pc:spChg>
        <pc:spChg chg="mod">
          <ac:chgData name="Müller, Kurt (SI BP S TSS ACD)" userId="e7e82c7e-80c6-42a5-ab71-24588885b7fe" providerId="ADAL" clId="{F6700264-7274-4DC9-BB6D-55AE9BA47D9A}" dt="2021-11-17T17:17:23.272" v="1903" actId="1076"/>
          <ac:spMkLst>
            <pc:docMk/>
            <pc:sldMk cId="2117204231" sldId="2597"/>
            <ac:spMk id="6" creationId="{4B0C24A2-5376-4A78-9B2E-BE85C3183448}"/>
          </ac:spMkLst>
        </pc:spChg>
        <pc:spChg chg="mod">
          <ac:chgData name="Müller, Kurt (SI BP S TSS ACD)" userId="e7e82c7e-80c6-42a5-ab71-24588885b7fe" providerId="ADAL" clId="{F6700264-7274-4DC9-BB6D-55AE9BA47D9A}" dt="2021-11-16T18:40:30.095" v="564" actId="14100"/>
          <ac:spMkLst>
            <pc:docMk/>
            <pc:sldMk cId="2117204231" sldId="2597"/>
            <ac:spMk id="7" creationId="{45F2AA1A-CFD0-4539-AC05-E9CD8ABDC70B}"/>
          </ac:spMkLst>
        </pc:spChg>
        <pc:spChg chg="del mod">
          <ac:chgData name="Müller, Kurt (SI BP S TSS ACD)" userId="e7e82c7e-80c6-42a5-ab71-24588885b7fe" providerId="ADAL" clId="{F6700264-7274-4DC9-BB6D-55AE9BA47D9A}" dt="2021-11-17T15:59:28.462" v="1770" actId="478"/>
          <ac:spMkLst>
            <pc:docMk/>
            <pc:sldMk cId="2117204231" sldId="2597"/>
            <ac:spMk id="29" creationId="{54FC7493-BD82-4508-9A5F-B807EADC2EEF}"/>
          </ac:spMkLst>
        </pc:spChg>
        <pc:spChg chg="del">
          <ac:chgData name="Müller, Kurt (SI BP S TSS ACD)" userId="e7e82c7e-80c6-42a5-ab71-24588885b7fe" providerId="ADAL" clId="{F6700264-7274-4DC9-BB6D-55AE9BA47D9A}" dt="2021-11-17T15:59:26.252" v="1769" actId="478"/>
          <ac:spMkLst>
            <pc:docMk/>
            <pc:sldMk cId="2117204231" sldId="2597"/>
            <ac:spMk id="31" creationId="{3B7FA286-1BB0-4FD6-A3B1-5CCB7F893565}"/>
          </ac:spMkLst>
        </pc:spChg>
        <pc:spChg chg="mod">
          <ac:chgData name="Müller, Kurt (SI BP S TSS ACD)" userId="e7e82c7e-80c6-42a5-ab71-24588885b7fe" providerId="ADAL" clId="{F6700264-7274-4DC9-BB6D-55AE9BA47D9A}" dt="2021-11-18T08:20:31.387" v="2351" actId="20577"/>
          <ac:spMkLst>
            <pc:docMk/>
            <pc:sldMk cId="2117204231" sldId="2597"/>
            <ac:spMk id="38" creationId="{C7393EA7-6091-4FD1-B2AB-7989165CBCDC}"/>
          </ac:spMkLst>
        </pc:spChg>
        <pc:spChg chg="del">
          <ac:chgData name="Müller, Kurt (SI BP S TSS ACD)" userId="e7e82c7e-80c6-42a5-ab71-24588885b7fe" providerId="ADAL" clId="{F6700264-7274-4DC9-BB6D-55AE9BA47D9A}" dt="2021-11-18T08:27:39.950" v="2352" actId="478"/>
          <ac:spMkLst>
            <pc:docMk/>
            <pc:sldMk cId="2117204231" sldId="2597"/>
            <ac:spMk id="40" creationId="{E278F5A8-B5FC-461F-B2E4-D0F124969861}"/>
          </ac:spMkLst>
        </pc:spChg>
        <pc:spChg chg="del">
          <ac:chgData name="Müller, Kurt (SI BP S TSS ACD)" userId="e7e82c7e-80c6-42a5-ab71-24588885b7fe" providerId="ADAL" clId="{F6700264-7274-4DC9-BB6D-55AE9BA47D9A}" dt="2021-11-17T15:59:26.252" v="1769" actId="478"/>
          <ac:spMkLst>
            <pc:docMk/>
            <pc:sldMk cId="2117204231" sldId="2597"/>
            <ac:spMk id="41" creationId="{0E3174B9-49E3-4E41-92F9-AB440F01D925}"/>
          </ac:spMkLst>
        </pc:spChg>
        <pc:spChg chg="del">
          <ac:chgData name="Müller, Kurt (SI BP S TSS ACD)" userId="e7e82c7e-80c6-42a5-ab71-24588885b7fe" providerId="ADAL" clId="{F6700264-7274-4DC9-BB6D-55AE9BA47D9A}" dt="2021-11-17T15:59:26.252" v="1769" actId="478"/>
          <ac:spMkLst>
            <pc:docMk/>
            <pc:sldMk cId="2117204231" sldId="2597"/>
            <ac:spMk id="43" creationId="{ED9ACD1E-6763-480A-84FC-094B48FF6E54}"/>
          </ac:spMkLst>
        </pc:spChg>
        <pc:spChg chg="del">
          <ac:chgData name="Müller, Kurt (SI BP S TSS ACD)" userId="e7e82c7e-80c6-42a5-ab71-24588885b7fe" providerId="ADAL" clId="{F6700264-7274-4DC9-BB6D-55AE9BA47D9A}" dt="2021-11-17T15:59:26.252" v="1769" actId="478"/>
          <ac:spMkLst>
            <pc:docMk/>
            <pc:sldMk cId="2117204231" sldId="2597"/>
            <ac:spMk id="51" creationId="{D4F2CD92-1ABF-42A4-9534-981A87703402}"/>
          </ac:spMkLst>
        </pc:spChg>
        <pc:spChg chg="del mod">
          <ac:chgData name="Müller, Kurt (SI BP S TSS ACD)" userId="e7e82c7e-80c6-42a5-ab71-24588885b7fe" providerId="ADAL" clId="{F6700264-7274-4DC9-BB6D-55AE9BA47D9A}" dt="2021-11-17T15:59:26.252" v="1769" actId="478"/>
          <ac:spMkLst>
            <pc:docMk/>
            <pc:sldMk cId="2117204231" sldId="2597"/>
            <ac:spMk id="59" creationId="{D8FE50D4-8C41-482C-B2C8-CB7EFF1B7139}"/>
          </ac:spMkLst>
        </pc:spChg>
        <pc:spChg chg="mod">
          <ac:chgData name="Müller, Kurt (SI BP S TSS ACD)" userId="e7e82c7e-80c6-42a5-ab71-24588885b7fe" providerId="ADAL" clId="{F6700264-7274-4DC9-BB6D-55AE9BA47D9A}" dt="2021-11-18T08:35:48.390" v="2458" actId="20577"/>
          <ac:spMkLst>
            <pc:docMk/>
            <pc:sldMk cId="2117204231" sldId="2597"/>
            <ac:spMk id="63" creationId="{AE27FEA4-90ED-486C-9851-ECD20DF848CD}"/>
          </ac:spMkLst>
        </pc:spChg>
        <pc:spChg chg="del mod">
          <ac:chgData name="Müller, Kurt (SI BP S TSS ACD)" userId="e7e82c7e-80c6-42a5-ab71-24588885b7fe" providerId="ADAL" clId="{F6700264-7274-4DC9-BB6D-55AE9BA47D9A}" dt="2021-11-17T15:59:28.462" v="1770" actId="478"/>
          <ac:spMkLst>
            <pc:docMk/>
            <pc:sldMk cId="2117204231" sldId="2597"/>
            <ac:spMk id="68" creationId="{D2B079E7-B1CB-4DC8-8E7D-62DE3C60EDDB}"/>
          </ac:spMkLst>
        </pc:spChg>
        <pc:spChg chg="del">
          <ac:chgData name="Müller, Kurt (SI BP S TSS ACD)" userId="e7e82c7e-80c6-42a5-ab71-24588885b7fe" providerId="ADAL" clId="{F6700264-7274-4DC9-BB6D-55AE9BA47D9A}" dt="2021-11-17T15:59:32.740" v="1771" actId="478"/>
          <ac:spMkLst>
            <pc:docMk/>
            <pc:sldMk cId="2117204231" sldId="2597"/>
            <ac:spMk id="69" creationId="{8E1F8910-6E5B-4E7B-8D1C-ECD4E665E533}"/>
          </ac:spMkLst>
        </pc:spChg>
        <pc:spChg chg="del">
          <ac:chgData name="Müller, Kurt (SI BP S TSS ACD)" userId="e7e82c7e-80c6-42a5-ab71-24588885b7fe" providerId="ADAL" clId="{F6700264-7274-4DC9-BB6D-55AE9BA47D9A}" dt="2021-11-17T15:59:32.740" v="1771" actId="478"/>
          <ac:spMkLst>
            <pc:docMk/>
            <pc:sldMk cId="2117204231" sldId="2597"/>
            <ac:spMk id="70" creationId="{E9C11E46-4DAE-44E0-B3AD-560D65324FFC}"/>
          </ac:spMkLst>
        </pc:spChg>
        <pc:spChg chg="del">
          <ac:chgData name="Müller, Kurt (SI BP S TSS ACD)" userId="e7e82c7e-80c6-42a5-ab71-24588885b7fe" providerId="ADAL" clId="{F6700264-7274-4DC9-BB6D-55AE9BA47D9A}" dt="2021-11-17T15:59:32.740" v="1771" actId="478"/>
          <ac:spMkLst>
            <pc:docMk/>
            <pc:sldMk cId="2117204231" sldId="2597"/>
            <ac:spMk id="71" creationId="{472C79C3-ED99-45B7-ACEF-EAF92331D3E9}"/>
          </ac:spMkLst>
        </pc:spChg>
        <pc:spChg chg="del">
          <ac:chgData name="Müller, Kurt (SI BP S TSS ACD)" userId="e7e82c7e-80c6-42a5-ab71-24588885b7fe" providerId="ADAL" clId="{F6700264-7274-4DC9-BB6D-55AE9BA47D9A}" dt="2021-11-17T15:59:32.740" v="1771" actId="478"/>
          <ac:spMkLst>
            <pc:docMk/>
            <pc:sldMk cId="2117204231" sldId="2597"/>
            <ac:spMk id="72" creationId="{AA9AAE29-3AE4-4CD1-B12A-A686F5644C18}"/>
          </ac:spMkLst>
        </pc:spChg>
        <pc:spChg chg="del">
          <ac:chgData name="Müller, Kurt (SI BP S TSS ACD)" userId="e7e82c7e-80c6-42a5-ab71-24588885b7fe" providerId="ADAL" clId="{F6700264-7274-4DC9-BB6D-55AE9BA47D9A}" dt="2021-11-17T15:59:32.740" v="1771" actId="478"/>
          <ac:spMkLst>
            <pc:docMk/>
            <pc:sldMk cId="2117204231" sldId="2597"/>
            <ac:spMk id="73" creationId="{2BADC382-8B66-4103-8898-285D16477381}"/>
          </ac:spMkLst>
        </pc:spChg>
        <pc:spChg chg="del">
          <ac:chgData name="Müller, Kurt (SI BP S TSS ACD)" userId="e7e82c7e-80c6-42a5-ab71-24588885b7fe" providerId="ADAL" clId="{F6700264-7274-4DC9-BB6D-55AE9BA47D9A}" dt="2021-11-17T15:59:32.740" v="1771" actId="478"/>
          <ac:spMkLst>
            <pc:docMk/>
            <pc:sldMk cId="2117204231" sldId="2597"/>
            <ac:spMk id="74" creationId="{5DA33389-8E96-4C92-884C-5F8EA4EF6FBC}"/>
          </ac:spMkLst>
        </pc:spChg>
        <pc:spChg chg="mod">
          <ac:chgData name="Müller, Kurt (SI BP S TSS ACD)" userId="e7e82c7e-80c6-42a5-ab71-24588885b7fe" providerId="ADAL" clId="{F6700264-7274-4DC9-BB6D-55AE9BA47D9A}" dt="2021-11-17T17:18:10.547" v="1908" actId="165"/>
          <ac:spMkLst>
            <pc:docMk/>
            <pc:sldMk cId="2117204231" sldId="2597"/>
            <ac:spMk id="77" creationId="{E6434EF4-6DA5-4EA4-8D37-30EBAA863DD1}"/>
          </ac:spMkLst>
        </pc:spChg>
        <pc:spChg chg="mod">
          <ac:chgData name="Müller, Kurt (SI BP S TSS ACD)" userId="e7e82c7e-80c6-42a5-ab71-24588885b7fe" providerId="ADAL" clId="{F6700264-7274-4DC9-BB6D-55AE9BA47D9A}" dt="2021-11-17T17:18:10.547" v="1908" actId="165"/>
          <ac:spMkLst>
            <pc:docMk/>
            <pc:sldMk cId="2117204231" sldId="2597"/>
            <ac:spMk id="78" creationId="{CF4A5DC9-F2E5-43C3-AD28-142F721F008E}"/>
          </ac:spMkLst>
        </pc:spChg>
        <pc:spChg chg="mod">
          <ac:chgData name="Müller, Kurt (SI BP S TSS ACD)" userId="e7e82c7e-80c6-42a5-ab71-24588885b7fe" providerId="ADAL" clId="{F6700264-7274-4DC9-BB6D-55AE9BA47D9A}" dt="2021-11-17T17:18:10.547" v="1908" actId="165"/>
          <ac:spMkLst>
            <pc:docMk/>
            <pc:sldMk cId="2117204231" sldId="2597"/>
            <ac:spMk id="79" creationId="{B0A01754-FE04-4017-80AA-4E02C5B6E104}"/>
          </ac:spMkLst>
        </pc:spChg>
        <pc:spChg chg="mod">
          <ac:chgData name="Müller, Kurt (SI BP S TSS ACD)" userId="e7e82c7e-80c6-42a5-ab71-24588885b7fe" providerId="ADAL" clId="{F6700264-7274-4DC9-BB6D-55AE9BA47D9A}" dt="2021-11-17T17:18:10.547" v="1908" actId="165"/>
          <ac:spMkLst>
            <pc:docMk/>
            <pc:sldMk cId="2117204231" sldId="2597"/>
            <ac:spMk id="80" creationId="{9FBD1F74-F062-4D67-AB82-EF27BFA29BD1}"/>
          </ac:spMkLst>
        </pc:spChg>
        <pc:spChg chg="mod">
          <ac:chgData name="Müller, Kurt (SI BP S TSS ACD)" userId="e7e82c7e-80c6-42a5-ab71-24588885b7fe" providerId="ADAL" clId="{F6700264-7274-4DC9-BB6D-55AE9BA47D9A}" dt="2021-11-17T17:17:23.272" v="1903" actId="1076"/>
          <ac:spMkLst>
            <pc:docMk/>
            <pc:sldMk cId="2117204231" sldId="2597"/>
            <ac:spMk id="95" creationId="{E4093040-6CE3-4CCE-9C2E-C64DB0445BE9}"/>
          </ac:spMkLst>
        </pc:spChg>
        <pc:spChg chg="mod">
          <ac:chgData name="Müller, Kurt (SI BP S TSS ACD)" userId="e7e82c7e-80c6-42a5-ab71-24588885b7fe" providerId="ADAL" clId="{F6700264-7274-4DC9-BB6D-55AE9BA47D9A}" dt="2021-11-17T17:17:23.272" v="1903" actId="1076"/>
          <ac:spMkLst>
            <pc:docMk/>
            <pc:sldMk cId="2117204231" sldId="2597"/>
            <ac:spMk id="96" creationId="{AE84ECE9-E797-43A9-B52C-B2F10D9FDB2D}"/>
          </ac:spMkLst>
        </pc:spChg>
        <pc:spChg chg="mod">
          <ac:chgData name="Müller, Kurt (SI BP S TSS ACD)" userId="e7e82c7e-80c6-42a5-ab71-24588885b7fe" providerId="ADAL" clId="{F6700264-7274-4DC9-BB6D-55AE9BA47D9A}" dt="2021-11-17T17:17:23.272" v="1903" actId="1076"/>
          <ac:spMkLst>
            <pc:docMk/>
            <pc:sldMk cId="2117204231" sldId="2597"/>
            <ac:spMk id="97" creationId="{5AB790CB-BD1C-4D78-9958-672073F1FAC7}"/>
          </ac:spMkLst>
        </pc:spChg>
        <pc:spChg chg="mod">
          <ac:chgData name="Müller, Kurt (SI BP S TSS ACD)" userId="e7e82c7e-80c6-42a5-ab71-24588885b7fe" providerId="ADAL" clId="{F6700264-7274-4DC9-BB6D-55AE9BA47D9A}" dt="2021-11-17T17:17:23.272" v="1903" actId="1076"/>
          <ac:spMkLst>
            <pc:docMk/>
            <pc:sldMk cId="2117204231" sldId="2597"/>
            <ac:spMk id="98" creationId="{AF5457C1-C52F-48B0-A38A-57A62758065B}"/>
          </ac:spMkLst>
        </pc:spChg>
        <pc:spChg chg="mod">
          <ac:chgData name="Müller, Kurt (SI BP S TSS ACD)" userId="e7e82c7e-80c6-42a5-ab71-24588885b7fe" providerId="ADAL" clId="{F6700264-7274-4DC9-BB6D-55AE9BA47D9A}" dt="2021-11-17T17:17:26.929" v="1904" actId="1076"/>
          <ac:spMkLst>
            <pc:docMk/>
            <pc:sldMk cId="2117204231" sldId="2597"/>
            <ac:spMk id="101" creationId="{A44A5F2E-2A6C-45B7-B6AC-FE00DB169404}"/>
          </ac:spMkLst>
        </pc:spChg>
        <pc:spChg chg="mod">
          <ac:chgData name="Müller, Kurt (SI BP S TSS ACD)" userId="e7e82c7e-80c6-42a5-ab71-24588885b7fe" providerId="ADAL" clId="{F6700264-7274-4DC9-BB6D-55AE9BA47D9A}" dt="2021-11-17T17:17:26.929" v="1904" actId="1076"/>
          <ac:spMkLst>
            <pc:docMk/>
            <pc:sldMk cId="2117204231" sldId="2597"/>
            <ac:spMk id="102" creationId="{582AAB54-9F4D-4075-8296-3C45E1F3382D}"/>
          </ac:spMkLst>
        </pc:spChg>
        <pc:spChg chg="mod">
          <ac:chgData name="Müller, Kurt (SI BP S TSS ACD)" userId="e7e82c7e-80c6-42a5-ab71-24588885b7fe" providerId="ADAL" clId="{F6700264-7274-4DC9-BB6D-55AE9BA47D9A}" dt="2021-11-17T17:17:26.929" v="1904" actId="1076"/>
          <ac:spMkLst>
            <pc:docMk/>
            <pc:sldMk cId="2117204231" sldId="2597"/>
            <ac:spMk id="103" creationId="{69BBDC59-851E-4D75-A887-48878B526CC4}"/>
          </ac:spMkLst>
        </pc:spChg>
        <pc:spChg chg="mod">
          <ac:chgData name="Müller, Kurt (SI BP S TSS ACD)" userId="e7e82c7e-80c6-42a5-ab71-24588885b7fe" providerId="ADAL" clId="{F6700264-7274-4DC9-BB6D-55AE9BA47D9A}" dt="2021-11-17T17:17:26.929" v="1904" actId="1076"/>
          <ac:spMkLst>
            <pc:docMk/>
            <pc:sldMk cId="2117204231" sldId="2597"/>
            <ac:spMk id="104" creationId="{1B11FE20-C5DE-40FF-89BD-1EC9FB11297A}"/>
          </ac:spMkLst>
        </pc:spChg>
        <pc:spChg chg="mod">
          <ac:chgData name="Müller, Kurt (SI BP S TSS ACD)" userId="e7e82c7e-80c6-42a5-ab71-24588885b7fe" providerId="ADAL" clId="{F6700264-7274-4DC9-BB6D-55AE9BA47D9A}" dt="2021-11-16T18:40:26.442" v="563" actId="1036"/>
          <ac:spMkLst>
            <pc:docMk/>
            <pc:sldMk cId="2117204231" sldId="2597"/>
            <ac:spMk id="107" creationId="{3108A59E-91AD-4E59-A33C-8AD44B556810}"/>
          </ac:spMkLst>
        </pc:spChg>
        <pc:spChg chg="mod">
          <ac:chgData name="Müller, Kurt (SI BP S TSS ACD)" userId="e7e82c7e-80c6-42a5-ab71-24588885b7fe" providerId="ADAL" clId="{F6700264-7274-4DC9-BB6D-55AE9BA47D9A}" dt="2021-11-16T18:40:26.442" v="563" actId="1036"/>
          <ac:spMkLst>
            <pc:docMk/>
            <pc:sldMk cId="2117204231" sldId="2597"/>
            <ac:spMk id="108" creationId="{FC2B505B-09AF-4E8A-B605-A6DB37BFC8C1}"/>
          </ac:spMkLst>
        </pc:spChg>
        <pc:spChg chg="mod">
          <ac:chgData name="Müller, Kurt (SI BP S TSS ACD)" userId="e7e82c7e-80c6-42a5-ab71-24588885b7fe" providerId="ADAL" clId="{F6700264-7274-4DC9-BB6D-55AE9BA47D9A}" dt="2021-11-16T18:40:26.442" v="563" actId="1036"/>
          <ac:spMkLst>
            <pc:docMk/>
            <pc:sldMk cId="2117204231" sldId="2597"/>
            <ac:spMk id="109" creationId="{5FE92C57-1009-416E-9335-5AE4D5A2B2DC}"/>
          </ac:spMkLst>
        </pc:spChg>
        <pc:spChg chg="mod">
          <ac:chgData name="Müller, Kurt (SI BP S TSS ACD)" userId="e7e82c7e-80c6-42a5-ab71-24588885b7fe" providerId="ADAL" clId="{F6700264-7274-4DC9-BB6D-55AE9BA47D9A}" dt="2021-11-16T18:40:26.442" v="563" actId="1036"/>
          <ac:spMkLst>
            <pc:docMk/>
            <pc:sldMk cId="2117204231" sldId="2597"/>
            <ac:spMk id="110" creationId="{930AF778-BCAF-4742-8818-92341D7920B4}"/>
          </ac:spMkLst>
        </pc:spChg>
        <pc:spChg chg="mod">
          <ac:chgData name="Müller, Kurt (SI BP S TSS ACD)" userId="e7e82c7e-80c6-42a5-ab71-24588885b7fe" providerId="ADAL" clId="{F6700264-7274-4DC9-BB6D-55AE9BA47D9A}" dt="2021-11-17T17:17:23.272" v="1903" actId="1076"/>
          <ac:spMkLst>
            <pc:docMk/>
            <pc:sldMk cId="2117204231" sldId="2597"/>
            <ac:spMk id="111" creationId="{64541326-2EAC-4932-A852-E6C31DA3283E}"/>
          </ac:spMkLst>
        </pc:spChg>
        <pc:spChg chg="add del">
          <ac:chgData name="Müller, Kurt (SI BP S TSS ACD)" userId="e7e82c7e-80c6-42a5-ab71-24588885b7fe" providerId="ADAL" clId="{F6700264-7274-4DC9-BB6D-55AE9BA47D9A}" dt="2021-11-16T18:39:09.372" v="536" actId="478"/>
          <ac:spMkLst>
            <pc:docMk/>
            <pc:sldMk cId="2117204231" sldId="2597"/>
            <ac:spMk id="112" creationId="{8A51BF4F-FD7F-4572-BC06-BD0AC8193FB3}"/>
          </ac:spMkLst>
        </pc:spChg>
        <pc:spChg chg="add mod topLvl">
          <ac:chgData name="Müller, Kurt (SI BP S TSS ACD)" userId="e7e82c7e-80c6-42a5-ab71-24588885b7fe" providerId="ADAL" clId="{F6700264-7274-4DC9-BB6D-55AE9BA47D9A}" dt="2021-11-18T14:07:00.907" v="3276" actId="20577"/>
          <ac:spMkLst>
            <pc:docMk/>
            <pc:sldMk cId="2117204231" sldId="2597"/>
            <ac:spMk id="112" creationId="{B76DFB8B-7867-44C1-AB13-BAE5F2F220D0}"/>
          </ac:spMkLst>
        </pc:spChg>
        <pc:spChg chg="mod">
          <ac:chgData name="Müller, Kurt (SI BP S TSS ACD)" userId="e7e82c7e-80c6-42a5-ab71-24588885b7fe" providerId="ADAL" clId="{F6700264-7274-4DC9-BB6D-55AE9BA47D9A}" dt="2021-11-17T17:17:23.272" v="1903" actId="1076"/>
          <ac:spMkLst>
            <pc:docMk/>
            <pc:sldMk cId="2117204231" sldId="2597"/>
            <ac:spMk id="113" creationId="{783DCC57-8B51-4ACD-8518-B4EE0C9860E9}"/>
          </ac:spMkLst>
        </pc:spChg>
        <pc:spChg chg="mod">
          <ac:chgData name="Müller, Kurt (SI BP S TSS ACD)" userId="e7e82c7e-80c6-42a5-ab71-24588885b7fe" providerId="ADAL" clId="{F6700264-7274-4DC9-BB6D-55AE9BA47D9A}" dt="2021-11-17T17:17:23.272" v="1903" actId="1076"/>
          <ac:spMkLst>
            <pc:docMk/>
            <pc:sldMk cId="2117204231" sldId="2597"/>
            <ac:spMk id="114" creationId="{E4D8C052-0DBC-49FE-AE3E-6CFA9B8995D2}"/>
          </ac:spMkLst>
        </pc:spChg>
        <pc:spChg chg="mod">
          <ac:chgData name="Müller, Kurt (SI BP S TSS ACD)" userId="e7e82c7e-80c6-42a5-ab71-24588885b7fe" providerId="ADAL" clId="{F6700264-7274-4DC9-BB6D-55AE9BA47D9A}" dt="2021-11-17T17:17:23.272" v="1903" actId="1076"/>
          <ac:spMkLst>
            <pc:docMk/>
            <pc:sldMk cId="2117204231" sldId="2597"/>
            <ac:spMk id="115" creationId="{14A710E2-F1BA-408D-A265-747B7B7B2D8D}"/>
          </ac:spMkLst>
        </pc:spChg>
        <pc:spChg chg="mod">
          <ac:chgData name="Müller, Kurt (SI BP S TSS ACD)" userId="e7e82c7e-80c6-42a5-ab71-24588885b7fe" providerId="ADAL" clId="{F6700264-7274-4DC9-BB6D-55AE9BA47D9A}" dt="2021-11-17T17:17:23.272" v="1903" actId="1076"/>
          <ac:spMkLst>
            <pc:docMk/>
            <pc:sldMk cId="2117204231" sldId="2597"/>
            <ac:spMk id="116" creationId="{ADDD45A0-B595-45DE-917B-6A8865B9B8D1}"/>
          </ac:spMkLst>
        </pc:spChg>
        <pc:spChg chg="add mod topLvl">
          <ac:chgData name="Müller, Kurt (SI BP S TSS ACD)" userId="e7e82c7e-80c6-42a5-ab71-24588885b7fe" providerId="ADAL" clId="{F6700264-7274-4DC9-BB6D-55AE9BA47D9A}" dt="2021-11-17T17:18:10.547" v="1908" actId="165"/>
          <ac:spMkLst>
            <pc:docMk/>
            <pc:sldMk cId="2117204231" sldId="2597"/>
            <ac:spMk id="117" creationId="{4A6F9BA5-89FA-401E-98DD-165CC9AF1484}"/>
          </ac:spMkLst>
        </pc:spChg>
        <pc:spChg chg="del">
          <ac:chgData name="Müller, Kurt (SI BP S TSS ACD)" userId="e7e82c7e-80c6-42a5-ab71-24588885b7fe" providerId="ADAL" clId="{F6700264-7274-4DC9-BB6D-55AE9BA47D9A}" dt="2021-11-16T18:41:01.691" v="568" actId="478"/>
          <ac:spMkLst>
            <pc:docMk/>
            <pc:sldMk cId="2117204231" sldId="2597"/>
            <ac:spMk id="117" creationId="{7EC56D1C-15D0-4A03-AE85-883EDE3B4D71}"/>
          </ac:spMkLst>
        </pc:spChg>
        <pc:spChg chg="mod">
          <ac:chgData name="Müller, Kurt (SI BP S TSS ACD)" userId="e7e82c7e-80c6-42a5-ab71-24588885b7fe" providerId="ADAL" clId="{F6700264-7274-4DC9-BB6D-55AE9BA47D9A}" dt="2021-11-17T17:17:23.272" v="1903" actId="1076"/>
          <ac:spMkLst>
            <pc:docMk/>
            <pc:sldMk cId="2117204231" sldId="2597"/>
            <ac:spMk id="118" creationId="{E69947DB-92C7-4C43-901A-21719F34A467}"/>
          </ac:spMkLst>
        </pc:spChg>
        <pc:spChg chg="mod">
          <ac:chgData name="Müller, Kurt (SI BP S TSS ACD)" userId="e7e82c7e-80c6-42a5-ab71-24588885b7fe" providerId="ADAL" clId="{F6700264-7274-4DC9-BB6D-55AE9BA47D9A}" dt="2021-11-17T17:17:23.272" v="1903" actId="1076"/>
          <ac:spMkLst>
            <pc:docMk/>
            <pc:sldMk cId="2117204231" sldId="2597"/>
            <ac:spMk id="119" creationId="{E3F01786-BC96-43EE-9D7E-E86787325E43}"/>
          </ac:spMkLst>
        </pc:spChg>
        <pc:spChg chg="mod topLvl">
          <ac:chgData name="Müller, Kurt (SI BP S TSS ACD)" userId="e7e82c7e-80c6-42a5-ab71-24588885b7fe" providerId="ADAL" clId="{F6700264-7274-4DC9-BB6D-55AE9BA47D9A}" dt="2021-11-17T17:18:10.547" v="1908" actId="165"/>
          <ac:spMkLst>
            <pc:docMk/>
            <pc:sldMk cId="2117204231" sldId="2597"/>
            <ac:spMk id="120" creationId="{8CCF2222-D180-4260-9181-03E7188021E1}"/>
          </ac:spMkLst>
        </pc:spChg>
        <pc:spChg chg="add mod topLvl">
          <ac:chgData name="Müller, Kurt (SI BP S TSS ACD)" userId="e7e82c7e-80c6-42a5-ab71-24588885b7fe" providerId="ADAL" clId="{F6700264-7274-4DC9-BB6D-55AE9BA47D9A}" dt="2021-11-17T17:18:10.547" v="1908" actId="165"/>
          <ac:spMkLst>
            <pc:docMk/>
            <pc:sldMk cId="2117204231" sldId="2597"/>
            <ac:spMk id="121" creationId="{17B4A4B1-FBE0-4237-ACB5-868CD3576939}"/>
          </ac:spMkLst>
        </pc:spChg>
        <pc:spChg chg="del">
          <ac:chgData name="Müller, Kurt (SI BP S TSS ACD)" userId="e7e82c7e-80c6-42a5-ab71-24588885b7fe" providerId="ADAL" clId="{F6700264-7274-4DC9-BB6D-55AE9BA47D9A}" dt="2021-11-16T18:38:31.750" v="529" actId="478"/>
          <ac:spMkLst>
            <pc:docMk/>
            <pc:sldMk cId="2117204231" sldId="2597"/>
            <ac:spMk id="121" creationId="{21B543F2-CAC8-4476-AF49-97F70CFDCD77}"/>
          </ac:spMkLst>
        </pc:spChg>
        <pc:spChg chg="del">
          <ac:chgData name="Müller, Kurt (SI BP S TSS ACD)" userId="e7e82c7e-80c6-42a5-ab71-24588885b7fe" providerId="ADAL" clId="{F6700264-7274-4DC9-BB6D-55AE9BA47D9A}" dt="2021-11-16T18:38:31.750" v="529" actId="478"/>
          <ac:spMkLst>
            <pc:docMk/>
            <pc:sldMk cId="2117204231" sldId="2597"/>
            <ac:spMk id="122" creationId="{5798D3BE-57F7-4525-9AFF-ED6016BD69E5}"/>
          </ac:spMkLst>
        </pc:spChg>
        <pc:spChg chg="add del mod">
          <ac:chgData name="Müller, Kurt (SI BP S TSS ACD)" userId="e7e82c7e-80c6-42a5-ab71-24588885b7fe" providerId="ADAL" clId="{F6700264-7274-4DC9-BB6D-55AE9BA47D9A}" dt="2021-11-17T16:15:46.683" v="1863" actId="478"/>
          <ac:spMkLst>
            <pc:docMk/>
            <pc:sldMk cId="2117204231" sldId="2597"/>
            <ac:spMk id="122" creationId="{6D350869-51BA-4B14-BDA6-C9AF4C8C4DDA}"/>
          </ac:spMkLst>
        </pc:spChg>
        <pc:spChg chg="del">
          <ac:chgData name="Müller, Kurt (SI BP S TSS ACD)" userId="e7e82c7e-80c6-42a5-ab71-24588885b7fe" providerId="ADAL" clId="{F6700264-7274-4DC9-BB6D-55AE9BA47D9A}" dt="2021-11-16T18:38:42.846" v="530" actId="478"/>
          <ac:spMkLst>
            <pc:docMk/>
            <pc:sldMk cId="2117204231" sldId="2597"/>
            <ac:spMk id="123" creationId="{4ABFB1A0-8E2C-43EF-9704-F987E93943A4}"/>
          </ac:spMkLst>
        </pc:spChg>
        <pc:spChg chg="mod topLvl">
          <ac:chgData name="Müller, Kurt (SI BP S TSS ACD)" userId="e7e82c7e-80c6-42a5-ab71-24588885b7fe" providerId="ADAL" clId="{F6700264-7274-4DC9-BB6D-55AE9BA47D9A}" dt="2021-11-17T17:18:10.547" v="1908" actId="165"/>
          <ac:spMkLst>
            <pc:docMk/>
            <pc:sldMk cId="2117204231" sldId="2597"/>
            <ac:spMk id="124" creationId="{6293B3A8-76E0-42BD-B399-36CD3748991B}"/>
          </ac:spMkLst>
        </pc:spChg>
        <pc:spChg chg="mod topLvl">
          <ac:chgData name="Müller, Kurt (SI BP S TSS ACD)" userId="e7e82c7e-80c6-42a5-ab71-24588885b7fe" providerId="ADAL" clId="{F6700264-7274-4DC9-BB6D-55AE9BA47D9A}" dt="2021-11-17T17:18:10.547" v="1908" actId="165"/>
          <ac:spMkLst>
            <pc:docMk/>
            <pc:sldMk cId="2117204231" sldId="2597"/>
            <ac:spMk id="125" creationId="{89055CDE-A99D-479F-80DF-A48F2FDCAB03}"/>
          </ac:spMkLst>
        </pc:spChg>
        <pc:spChg chg="mod topLvl">
          <ac:chgData name="Müller, Kurt (SI BP S TSS ACD)" userId="e7e82c7e-80c6-42a5-ab71-24588885b7fe" providerId="ADAL" clId="{F6700264-7274-4DC9-BB6D-55AE9BA47D9A}" dt="2021-11-17T17:18:10.547" v="1908" actId="165"/>
          <ac:spMkLst>
            <pc:docMk/>
            <pc:sldMk cId="2117204231" sldId="2597"/>
            <ac:spMk id="126" creationId="{6703DDD1-827B-4917-905F-9414DF9F48A3}"/>
          </ac:spMkLst>
        </pc:spChg>
        <pc:spChg chg="mod topLvl">
          <ac:chgData name="Müller, Kurt (SI BP S TSS ACD)" userId="e7e82c7e-80c6-42a5-ab71-24588885b7fe" providerId="ADAL" clId="{F6700264-7274-4DC9-BB6D-55AE9BA47D9A}" dt="2021-11-17T17:18:10.547" v="1908" actId="165"/>
          <ac:spMkLst>
            <pc:docMk/>
            <pc:sldMk cId="2117204231" sldId="2597"/>
            <ac:spMk id="127" creationId="{73BABF2C-0BA2-4D39-A7B2-866A5DE3E3EF}"/>
          </ac:spMkLst>
        </pc:spChg>
        <pc:spChg chg="del">
          <ac:chgData name="Müller, Kurt (SI BP S TSS ACD)" userId="e7e82c7e-80c6-42a5-ab71-24588885b7fe" providerId="ADAL" clId="{F6700264-7274-4DC9-BB6D-55AE9BA47D9A}" dt="2021-11-16T18:38:42.846" v="530" actId="478"/>
          <ac:spMkLst>
            <pc:docMk/>
            <pc:sldMk cId="2117204231" sldId="2597"/>
            <ac:spMk id="128" creationId="{4ECE5C65-374B-47EF-89DB-DC49A38D71A2}"/>
          </ac:spMkLst>
        </pc:spChg>
        <pc:spChg chg="del">
          <ac:chgData name="Müller, Kurt (SI BP S TSS ACD)" userId="e7e82c7e-80c6-42a5-ab71-24588885b7fe" providerId="ADAL" clId="{F6700264-7274-4DC9-BB6D-55AE9BA47D9A}" dt="2021-11-16T18:38:42.846" v="530" actId="478"/>
          <ac:spMkLst>
            <pc:docMk/>
            <pc:sldMk cId="2117204231" sldId="2597"/>
            <ac:spMk id="129" creationId="{477044BB-D835-4BEA-BF56-2227F2170F62}"/>
          </ac:spMkLst>
        </pc:spChg>
        <pc:spChg chg="mod topLvl">
          <ac:chgData name="Müller, Kurt (SI BP S TSS ACD)" userId="e7e82c7e-80c6-42a5-ab71-24588885b7fe" providerId="ADAL" clId="{F6700264-7274-4DC9-BB6D-55AE9BA47D9A}" dt="2021-11-17T17:18:10.547" v="1908" actId="165"/>
          <ac:spMkLst>
            <pc:docMk/>
            <pc:sldMk cId="2117204231" sldId="2597"/>
            <ac:spMk id="130" creationId="{71F6535D-3EDD-43A3-803E-19ABADD45192}"/>
          </ac:spMkLst>
        </pc:spChg>
        <pc:spChg chg="add mod">
          <ac:chgData name="Müller, Kurt (SI BP S TSS ACD)" userId="e7e82c7e-80c6-42a5-ab71-24588885b7fe" providerId="ADAL" clId="{F6700264-7274-4DC9-BB6D-55AE9BA47D9A}" dt="2021-11-17T17:16:15.623" v="1896" actId="164"/>
          <ac:spMkLst>
            <pc:docMk/>
            <pc:sldMk cId="2117204231" sldId="2597"/>
            <ac:spMk id="132" creationId="{BA9C9DA5-8AF0-4EC7-A147-CFB4C1C2C2BF}"/>
          </ac:spMkLst>
        </pc:spChg>
        <pc:spChg chg="add mod">
          <ac:chgData name="Müller, Kurt (SI BP S TSS ACD)" userId="e7e82c7e-80c6-42a5-ab71-24588885b7fe" providerId="ADAL" clId="{F6700264-7274-4DC9-BB6D-55AE9BA47D9A}" dt="2021-11-17T17:16:15.623" v="1896" actId="164"/>
          <ac:spMkLst>
            <pc:docMk/>
            <pc:sldMk cId="2117204231" sldId="2597"/>
            <ac:spMk id="133" creationId="{7DAE14EF-1DC9-4AFD-B49A-BB79F8EB8E7D}"/>
          </ac:spMkLst>
        </pc:spChg>
        <pc:spChg chg="add mod">
          <ac:chgData name="Müller, Kurt (SI BP S TSS ACD)" userId="e7e82c7e-80c6-42a5-ab71-24588885b7fe" providerId="ADAL" clId="{F6700264-7274-4DC9-BB6D-55AE9BA47D9A}" dt="2021-11-17T17:16:15.623" v="1896" actId="164"/>
          <ac:spMkLst>
            <pc:docMk/>
            <pc:sldMk cId="2117204231" sldId="2597"/>
            <ac:spMk id="134" creationId="{42ECCC04-EA2E-4885-858B-E639D2F1861A}"/>
          </ac:spMkLst>
        </pc:spChg>
        <pc:spChg chg="add mod">
          <ac:chgData name="Müller, Kurt (SI BP S TSS ACD)" userId="e7e82c7e-80c6-42a5-ab71-24588885b7fe" providerId="ADAL" clId="{F6700264-7274-4DC9-BB6D-55AE9BA47D9A}" dt="2021-11-17T17:16:15.623" v="1896" actId="164"/>
          <ac:spMkLst>
            <pc:docMk/>
            <pc:sldMk cId="2117204231" sldId="2597"/>
            <ac:spMk id="135" creationId="{59B73405-2058-4A08-B4E2-A1AA2F68F9C9}"/>
          </ac:spMkLst>
        </pc:spChg>
        <pc:spChg chg="add mod">
          <ac:chgData name="Müller, Kurt (SI BP S TSS ACD)" userId="e7e82c7e-80c6-42a5-ab71-24588885b7fe" providerId="ADAL" clId="{F6700264-7274-4DC9-BB6D-55AE9BA47D9A}" dt="2021-11-17T17:16:15.623" v="1896" actId="164"/>
          <ac:spMkLst>
            <pc:docMk/>
            <pc:sldMk cId="2117204231" sldId="2597"/>
            <ac:spMk id="136" creationId="{589CA81B-4E79-438C-A1FB-C7C199C53088}"/>
          </ac:spMkLst>
        </pc:spChg>
        <pc:spChg chg="add mod">
          <ac:chgData name="Müller, Kurt (SI BP S TSS ACD)" userId="e7e82c7e-80c6-42a5-ab71-24588885b7fe" providerId="ADAL" clId="{F6700264-7274-4DC9-BB6D-55AE9BA47D9A}" dt="2021-11-17T17:16:15.623" v="1896" actId="164"/>
          <ac:spMkLst>
            <pc:docMk/>
            <pc:sldMk cId="2117204231" sldId="2597"/>
            <ac:spMk id="137" creationId="{D1DC030F-4394-4BFB-A9A1-5E82763C0409}"/>
          </ac:spMkLst>
        </pc:spChg>
        <pc:spChg chg="add mod">
          <ac:chgData name="Müller, Kurt (SI BP S TSS ACD)" userId="e7e82c7e-80c6-42a5-ab71-24588885b7fe" providerId="ADAL" clId="{F6700264-7274-4DC9-BB6D-55AE9BA47D9A}" dt="2021-11-17T17:17:26.929" v="1904" actId="1076"/>
          <ac:spMkLst>
            <pc:docMk/>
            <pc:sldMk cId="2117204231" sldId="2597"/>
            <ac:spMk id="138" creationId="{CF8CBC1B-5C18-4AFA-B196-5DC5595C9996}"/>
          </ac:spMkLst>
        </pc:spChg>
        <pc:spChg chg="add mod">
          <ac:chgData name="Müller, Kurt (SI BP S TSS ACD)" userId="e7e82c7e-80c6-42a5-ab71-24588885b7fe" providerId="ADAL" clId="{F6700264-7274-4DC9-BB6D-55AE9BA47D9A}" dt="2021-11-17T17:17:26.929" v="1904" actId="1076"/>
          <ac:spMkLst>
            <pc:docMk/>
            <pc:sldMk cId="2117204231" sldId="2597"/>
            <ac:spMk id="139" creationId="{13E7632B-54FD-459B-B4E1-DDAF52520781}"/>
          </ac:spMkLst>
        </pc:spChg>
        <pc:spChg chg="add mod">
          <ac:chgData name="Müller, Kurt (SI BP S TSS ACD)" userId="e7e82c7e-80c6-42a5-ab71-24588885b7fe" providerId="ADAL" clId="{F6700264-7274-4DC9-BB6D-55AE9BA47D9A}" dt="2021-11-17T17:17:26.929" v="1904" actId="1076"/>
          <ac:spMkLst>
            <pc:docMk/>
            <pc:sldMk cId="2117204231" sldId="2597"/>
            <ac:spMk id="140" creationId="{78E52AF4-1540-43EE-B63A-49A99A335B15}"/>
          </ac:spMkLst>
        </pc:spChg>
        <pc:spChg chg="add mod">
          <ac:chgData name="Müller, Kurt (SI BP S TSS ACD)" userId="e7e82c7e-80c6-42a5-ab71-24588885b7fe" providerId="ADAL" clId="{F6700264-7274-4DC9-BB6D-55AE9BA47D9A}" dt="2021-11-17T17:17:26.929" v="1904" actId="1076"/>
          <ac:spMkLst>
            <pc:docMk/>
            <pc:sldMk cId="2117204231" sldId="2597"/>
            <ac:spMk id="141" creationId="{A75FFB50-6C74-4A5C-BEA3-EC1A87DAF69E}"/>
          </ac:spMkLst>
        </pc:spChg>
        <pc:spChg chg="add mod">
          <ac:chgData name="Müller, Kurt (SI BP S TSS ACD)" userId="e7e82c7e-80c6-42a5-ab71-24588885b7fe" providerId="ADAL" clId="{F6700264-7274-4DC9-BB6D-55AE9BA47D9A}" dt="2021-11-17T17:17:26.929" v="1904" actId="1076"/>
          <ac:spMkLst>
            <pc:docMk/>
            <pc:sldMk cId="2117204231" sldId="2597"/>
            <ac:spMk id="142" creationId="{62DBEE4B-1DA5-41C8-9222-4F8C7E03AEE3}"/>
          </ac:spMkLst>
        </pc:spChg>
        <pc:spChg chg="add mod">
          <ac:chgData name="Müller, Kurt (SI BP S TSS ACD)" userId="e7e82c7e-80c6-42a5-ab71-24588885b7fe" providerId="ADAL" clId="{F6700264-7274-4DC9-BB6D-55AE9BA47D9A}" dt="2021-11-17T17:17:26.929" v="1904" actId="1076"/>
          <ac:spMkLst>
            <pc:docMk/>
            <pc:sldMk cId="2117204231" sldId="2597"/>
            <ac:spMk id="143" creationId="{A6E38FC3-D61C-42D9-B9A6-CACE03CEB330}"/>
          </ac:spMkLst>
        </pc:spChg>
        <pc:spChg chg="add mod">
          <ac:chgData name="Müller, Kurt (SI BP S TSS ACD)" userId="e7e82c7e-80c6-42a5-ab71-24588885b7fe" providerId="ADAL" clId="{F6700264-7274-4DC9-BB6D-55AE9BA47D9A}" dt="2021-11-17T17:17:26.929" v="1904" actId="1076"/>
          <ac:spMkLst>
            <pc:docMk/>
            <pc:sldMk cId="2117204231" sldId="2597"/>
            <ac:spMk id="144" creationId="{B771A7E8-CF67-41AE-B718-C962BE1163D1}"/>
          </ac:spMkLst>
        </pc:spChg>
        <pc:spChg chg="add mod">
          <ac:chgData name="Müller, Kurt (SI BP S TSS ACD)" userId="e7e82c7e-80c6-42a5-ab71-24588885b7fe" providerId="ADAL" clId="{F6700264-7274-4DC9-BB6D-55AE9BA47D9A}" dt="2021-11-17T17:17:26.929" v="1904" actId="1076"/>
          <ac:spMkLst>
            <pc:docMk/>
            <pc:sldMk cId="2117204231" sldId="2597"/>
            <ac:spMk id="145" creationId="{198D09CB-6589-4211-8628-CF3A0189AB0C}"/>
          </ac:spMkLst>
        </pc:spChg>
        <pc:spChg chg="add mod">
          <ac:chgData name="Müller, Kurt (SI BP S TSS ACD)" userId="e7e82c7e-80c6-42a5-ab71-24588885b7fe" providerId="ADAL" clId="{F6700264-7274-4DC9-BB6D-55AE9BA47D9A}" dt="2021-11-17T17:17:26.929" v="1904" actId="1076"/>
          <ac:spMkLst>
            <pc:docMk/>
            <pc:sldMk cId="2117204231" sldId="2597"/>
            <ac:spMk id="146" creationId="{718C582C-1666-4A50-9F15-52CB8A32616E}"/>
          </ac:spMkLst>
        </pc:spChg>
        <pc:grpChg chg="add mod">
          <ac:chgData name="Müller, Kurt (SI BP S TSS ACD)" userId="e7e82c7e-80c6-42a5-ab71-24588885b7fe" providerId="ADAL" clId="{F6700264-7274-4DC9-BB6D-55AE9BA47D9A}" dt="2021-11-17T17:17:26.929" v="1904" actId="1076"/>
          <ac:grpSpMkLst>
            <pc:docMk/>
            <pc:sldMk cId="2117204231" sldId="2597"/>
            <ac:grpSpMk id="4" creationId="{3501E1C0-1B0B-44D7-A621-DFDBABCA63ED}"/>
          </ac:grpSpMkLst>
        </pc:grpChg>
        <pc:grpChg chg="add del mod">
          <ac:chgData name="Müller, Kurt (SI BP S TSS ACD)" userId="e7e82c7e-80c6-42a5-ab71-24588885b7fe" providerId="ADAL" clId="{F6700264-7274-4DC9-BB6D-55AE9BA47D9A}" dt="2021-11-17T17:18:10.547" v="1908" actId="165"/>
          <ac:grpSpMkLst>
            <pc:docMk/>
            <pc:sldMk cId="2117204231" sldId="2597"/>
            <ac:grpSpMk id="8" creationId="{C173C47B-54DF-43BA-9403-B91476458A47}"/>
          </ac:grpSpMkLst>
        </pc:grpChg>
        <pc:grpChg chg="add mod">
          <ac:chgData name="Müller, Kurt (SI BP S TSS ACD)" userId="e7e82c7e-80c6-42a5-ab71-24588885b7fe" providerId="ADAL" clId="{F6700264-7274-4DC9-BB6D-55AE9BA47D9A}" dt="2021-11-17T17:16:15.623" v="1896" actId="164"/>
          <ac:grpSpMkLst>
            <pc:docMk/>
            <pc:sldMk cId="2117204231" sldId="2597"/>
            <ac:grpSpMk id="9" creationId="{D5063FC8-87AF-4C10-96AD-E0FF2C4ED728}"/>
          </ac:grpSpMkLst>
        </pc:grpChg>
        <pc:grpChg chg="add mod">
          <ac:chgData name="Müller, Kurt (SI BP S TSS ACD)" userId="e7e82c7e-80c6-42a5-ab71-24588885b7fe" providerId="ADAL" clId="{F6700264-7274-4DC9-BB6D-55AE9BA47D9A}" dt="2021-11-17T17:17:23.272" v="1903" actId="1076"/>
          <ac:grpSpMkLst>
            <pc:docMk/>
            <pc:sldMk cId="2117204231" sldId="2597"/>
            <ac:grpSpMk id="10" creationId="{D58EE74B-EA35-46B9-B55F-B2937B0A7CFE}"/>
          </ac:grpSpMkLst>
        </pc:grpChg>
        <pc:grpChg chg="del">
          <ac:chgData name="Müller, Kurt (SI BP S TSS ACD)" userId="e7e82c7e-80c6-42a5-ab71-24588885b7fe" providerId="ADAL" clId="{F6700264-7274-4DC9-BB6D-55AE9BA47D9A}" dt="2021-11-17T15:59:32.740" v="1771" actId="478"/>
          <ac:grpSpMkLst>
            <pc:docMk/>
            <pc:sldMk cId="2117204231" sldId="2597"/>
            <ac:grpSpMk id="49" creationId="{E958C2A3-58C0-42C0-A612-BB2ADA438E6F}"/>
          </ac:grpSpMkLst>
        </pc:grpChg>
        <pc:grpChg chg="mod topLvl">
          <ac:chgData name="Müller, Kurt (SI BP S TSS ACD)" userId="e7e82c7e-80c6-42a5-ab71-24588885b7fe" providerId="ADAL" clId="{F6700264-7274-4DC9-BB6D-55AE9BA47D9A}" dt="2021-11-17T17:18:10.547" v="1908" actId="165"/>
          <ac:grpSpMkLst>
            <pc:docMk/>
            <pc:sldMk cId="2117204231" sldId="2597"/>
            <ac:grpSpMk id="75" creationId="{FEF9269C-612B-41CD-8465-7211B745FF7B}"/>
          </ac:grpSpMkLst>
        </pc:grpChg>
        <pc:grpChg chg="mod">
          <ac:chgData name="Müller, Kurt (SI BP S TSS ACD)" userId="e7e82c7e-80c6-42a5-ab71-24588885b7fe" providerId="ADAL" clId="{F6700264-7274-4DC9-BB6D-55AE9BA47D9A}" dt="2021-11-17T17:18:10.547" v="1908" actId="165"/>
          <ac:grpSpMkLst>
            <pc:docMk/>
            <pc:sldMk cId="2117204231" sldId="2597"/>
            <ac:grpSpMk id="76" creationId="{F5EB6591-F74A-4A08-9EE7-15F73309FDA2}"/>
          </ac:grpSpMkLst>
        </pc:grpChg>
        <pc:grpChg chg="del">
          <ac:chgData name="Müller, Kurt (SI BP S TSS ACD)" userId="e7e82c7e-80c6-42a5-ab71-24588885b7fe" providerId="ADAL" clId="{F6700264-7274-4DC9-BB6D-55AE9BA47D9A}" dt="2021-11-17T15:59:32.740" v="1771" actId="478"/>
          <ac:grpSpMkLst>
            <pc:docMk/>
            <pc:sldMk cId="2117204231" sldId="2597"/>
            <ac:grpSpMk id="81" creationId="{D1CA97BC-EE05-464D-B9E0-C1F96FFB73D0}"/>
          </ac:grpSpMkLst>
        </pc:grpChg>
        <pc:grpChg chg="mod">
          <ac:chgData name="Müller, Kurt (SI BP S TSS ACD)" userId="e7e82c7e-80c6-42a5-ab71-24588885b7fe" providerId="ADAL" clId="{F6700264-7274-4DC9-BB6D-55AE9BA47D9A}" dt="2021-11-17T17:17:23.272" v="1903" actId="1076"/>
          <ac:grpSpMkLst>
            <pc:docMk/>
            <pc:sldMk cId="2117204231" sldId="2597"/>
            <ac:grpSpMk id="93" creationId="{E8AFB6C2-6622-451D-AB33-B51DBD9B008E}"/>
          </ac:grpSpMkLst>
        </pc:grpChg>
        <pc:grpChg chg="mod">
          <ac:chgData name="Müller, Kurt (SI BP S TSS ACD)" userId="e7e82c7e-80c6-42a5-ab71-24588885b7fe" providerId="ADAL" clId="{F6700264-7274-4DC9-BB6D-55AE9BA47D9A}" dt="2021-11-17T17:17:23.272" v="1903" actId="1076"/>
          <ac:grpSpMkLst>
            <pc:docMk/>
            <pc:sldMk cId="2117204231" sldId="2597"/>
            <ac:grpSpMk id="94" creationId="{1441CE5A-F9F4-4CED-8229-9F9793995733}"/>
          </ac:grpSpMkLst>
        </pc:grpChg>
        <pc:grpChg chg="mod">
          <ac:chgData name="Müller, Kurt (SI BP S TSS ACD)" userId="e7e82c7e-80c6-42a5-ab71-24588885b7fe" providerId="ADAL" clId="{F6700264-7274-4DC9-BB6D-55AE9BA47D9A}" dt="2021-11-17T17:17:26.929" v="1904" actId="1076"/>
          <ac:grpSpMkLst>
            <pc:docMk/>
            <pc:sldMk cId="2117204231" sldId="2597"/>
            <ac:grpSpMk id="99" creationId="{03D93BE8-A2D1-41AE-8351-429CCF9E2D05}"/>
          </ac:grpSpMkLst>
        </pc:grpChg>
        <pc:grpChg chg="mod">
          <ac:chgData name="Müller, Kurt (SI BP S TSS ACD)" userId="e7e82c7e-80c6-42a5-ab71-24588885b7fe" providerId="ADAL" clId="{F6700264-7274-4DC9-BB6D-55AE9BA47D9A}" dt="2021-11-17T17:17:26.929" v="1904" actId="1076"/>
          <ac:grpSpMkLst>
            <pc:docMk/>
            <pc:sldMk cId="2117204231" sldId="2597"/>
            <ac:grpSpMk id="100" creationId="{33202DBE-B3EB-4F0D-8003-592730B38B5B}"/>
          </ac:grpSpMkLst>
        </pc:grpChg>
        <pc:grpChg chg="mod">
          <ac:chgData name="Müller, Kurt (SI BP S TSS ACD)" userId="e7e82c7e-80c6-42a5-ab71-24588885b7fe" providerId="ADAL" clId="{F6700264-7274-4DC9-BB6D-55AE9BA47D9A}" dt="2021-11-17T17:16:15.623" v="1896" actId="164"/>
          <ac:grpSpMkLst>
            <pc:docMk/>
            <pc:sldMk cId="2117204231" sldId="2597"/>
            <ac:grpSpMk id="105" creationId="{A6C3632B-D61F-4601-80C1-CCA69FF4BE11}"/>
          </ac:grpSpMkLst>
        </pc:grpChg>
        <pc:grpChg chg="mod">
          <ac:chgData name="Müller, Kurt (SI BP S TSS ACD)" userId="e7e82c7e-80c6-42a5-ab71-24588885b7fe" providerId="ADAL" clId="{F6700264-7274-4DC9-BB6D-55AE9BA47D9A}" dt="2021-11-16T18:40:26.442" v="563" actId="1036"/>
          <ac:grpSpMkLst>
            <pc:docMk/>
            <pc:sldMk cId="2117204231" sldId="2597"/>
            <ac:grpSpMk id="106" creationId="{A550A9ED-3917-4EE7-AF9F-A9BBF4D177E2}"/>
          </ac:grpSpMkLst>
        </pc:grpChg>
        <pc:graphicFrameChg chg="del">
          <ac:chgData name="Müller, Kurt (SI BP S TSS ACD)" userId="e7e82c7e-80c6-42a5-ab71-24588885b7fe" providerId="ADAL" clId="{F6700264-7274-4DC9-BB6D-55AE9BA47D9A}" dt="2021-11-17T15:59:26.252" v="1769" actId="478"/>
          <ac:graphicFrameMkLst>
            <pc:docMk/>
            <pc:sldMk cId="2117204231" sldId="2597"/>
            <ac:graphicFrameMk id="34" creationId="{ACC200DB-0EA0-4C9E-B923-A502E16B4714}"/>
          </ac:graphicFrameMkLst>
        </pc:graphicFrameChg>
        <pc:graphicFrameChg chg="del">
          <ac:chgData name="Müller, Kurt (SI BP S TSS ACD)" userId="e7e82c7e-80c6-42a5-ab71-24588885b7fe" providerId="ADAL" clId="{F6700264-7274-4DC9-BB6D-55AE9BA47D9A}" dt="2021-11-17T15:59:26.252" v="1769" actId="478"/>
          <ac:graphicFrameMkLst>
            <pc:docMk/>
            <pc:sldMk cId="2117204231" sldId="2597"/>
            <ac:graphicFrameMk id="50" creationId="{4FF97D30-3266-4C0A-A787-B89A4E787E35}"/>
          </ac:graphicFrameMkLst>
        </pc:graphicFrameChg>
        <pc:graphicFrameChg chg="del">
          <ac:chgData name="Müller, Kurt (SI BP S TSS ACD)" userId="e7e82c7e-80c6-42a5-ab71-24588885b7fe" providerId="ADAL" clId="{F6700264-7274-4DC9-BB6D-55AE9BA47D9A}" dt="2021-11-17T15:59:26.252" v="1769" actId="478"/>
          <ac:graphicFrameMkLst>
            <pc:docMk/>
            <pc:sldMk cId="2117204231" sldId="2597"/>
            <ac:graphicFrameMk id="54" creationId="{C5EF833E-75C1-4F8A-AA34-F24516E0AE80}"/>
          </ac:graphicFrameMkLst>
        </pc:graphicFrameChg>
        <pc:picChg chg="del">
          <ac:chgData name="Müller, Kurt (SI BP S TSS ACD)" userId="e7e82c7e-80c6-42a5-ab71-24588885b7fe" providerId="ADAL" clId="{F6700264-7274-4DC9-BB6D-55AE9BA47D9A}" dt="2021-11-16T18:42:20.950" v="586" actId="478"/>
          <ac:picMkLst>
            <pc:docMk/>
            <pc:sldMk cId="2117204231" sldId="2597"/>
            <ac:picMk id="4" creationId="{42161D89-9991-4296-8AC8-5AF3EFB69052}"/>
          </ac:picMkLst>
        </pc:picChg>
        <pc:cxnChg chg="del">
          <ac:chgData name="Müller, Kurt (SI BP S TSS ACD)" userId="e7e82c7e-80c6-42a5-ab71-24588885b7fe" providerId="ADAL" clId="{F6700264-7274-4DC9-BB6D-55AE9BA47D9A}" dt="2021-11-17T15:59:26.252" v="1769" actId="478"/>
          <ac:cxnSpMkLst>
            <pc:docMk/>
            <pc:sldMk cId="2117204231" sldId="2597"/>
            <ac:cxnSpMk id="35" creationId="{9D614B38-0F88-4B5A-83AD-58745A319F48}"/>
          </ac:cxnSpMkLst>
        </pc:cxnChg>
        <pc:cxnChg chg="del">
          <ac:chgData name="Müller, Kurt (SI BP S TSS ACD)" userId="e7e82c7e-80c6-42a5-ab71-24588885b7fe" providerId="ADAL" clId="{F6700264-7274-4DC9-BB6D-55AE9BA47D9A}" dt="2021-11-17T15:59:26.252" v="1769" actId="478"/>
          <ac:cxnSpMkLst>
            <pc:docMk/>
            <pc:sldMk cId="2117204231" sldId="2597"/>
            <ac:cxnSpMk id="37" creationId="{523F6393-57CD-4633-9980-BACA800ECD73}"/>
          </ac:cxnSpMkLst>
        </pc:cxnChg>
        <pc:cxnChg chg="del">
          <ac:chgData name="Müller, Kurt (SI BP S TSS ACD)" userId="e7e82c7e-80c6-42a5-ab71-24588885b7fe" providerId="ADAL" clId="{F6700264-7274-4DC9-BB6D-55AE9BA47D9A}" dt="2021-11-17T15:59:26.252" v="1769" actId="478"/>
          <ac:cxnSpMkLst>
            <pc:docMk/>
            <pc:sldMk cId="2117204231" sldId="2597"/>
            <ac:cxnSpMk id="39" creationId="{688D10BF-4A83-48B9-A9BA-51FB80720B8B}"/>
          </ac:cxnSpMkLst>
        </pc:cxnChg>
        <pc:cxnChg chg="del">
          <ac:chgData name="Müller, Kurt (SI BP S TSS ACD)" userId="e7e82c7e-80c6-42a5-ab71-24588885b7fe" providerId="ADAL" clId="{F6700264-7274-4DC9-BB6D-55AE9BA47D9A}" dt="2021-11-17T15:59:26.252" v="1769" actId="478"/>
          <ac:cxnSpMkLst>
            <pc:docMk/>
            <pc:sldMk cId="2117204231" sldId="2597"/>
            <ac:cxnSpMk id="42" creationId="{A6530B70-2E2A-4996-9390-AB3AFF4345A1}"/>
          </ac:cxnSpMkLst>
        </pc:cxnChg>
        <pc:cxnChg chg="del">
          <ac:chgData name="Müller, Kurt (SI BP S TSS ACD)" userId="e7e82c7e-80c6-42a5-ab71-24588885b7fe" providerId="ADAL" clId="{F6700264-7274-4DC9-BB6D-55AE9BA47D9A}" dt="2021-11-17T15:59:26.252" v="1769" actId="478"/>
          <ac:cxnSpMkLst>
            <pc:docMk/>
            <pc:sldMk cId="2117204231" sldId="2597"/>
            <ac:cxnSpMk id="55" creationId="{C25F8F83-F10E-49FE-8DF3-25DF1035C178}"/>
          </ac:cxnSpMkLst>
        </pc:cxnChg>
        <pc:cxnChg chg="del">
          <ac:chgData name="Müller, Kurt (SI BP S TSS ACD)" userId="e7e82c7e-80c6-42a5-ab71-24588885b7fe" providerId="ADAL" clId="{F6700264-7274-4DC9-BB6D-55AE9BA47D9A}" dt="2021-11-17T15:59:26.252" v="1769" actId="478"/>
          <ac:cxnSpMkLst>
            <pc:docMk/>
            <pc:sldMk cId="2117204231" sldId="2597"/>
            <ac:cxnSpMk id="56" creationId="{3F27D4B3-4BEE-49C4-98CB-34C5D156F49D}"/>
          </ac:cxnSpMkLst>
        </pc:cxnChg>
        <pc:cxnChg chg="del">
          <ac:chgData name="Müller, Kurt (SI BP S TSS ACD)" userId="e7e82c7e-80c6-42a5-ab71-24588885b7fe" providerId="ADAL" clId="{F6700264-7274-4DC9-BB6D-55AE9BA47D9A}" dt="2021-11-17T15:59:26.252" v="1769" actId="478"/>
          <ac:cxnSpMkLst>
            <pc:docMk/>
            <pc:sldMk cId="2117204231" sldId="2597"/>
            <ac:cxnSpMk id="57" creationId="{59FB1537-857A-46F8-BDF3-89E51B4D8648}"/>
          </ac:cxnSpMkLst>
        </pc:cxnChg>
        <pc:cxnChg chg="del">
          <ac:chgData name="Müller, Kurt (SI BP S TSS ACD)" userId="e7e82c7e-80c6-42a5-ab71-24588885b7fe" providerId="ADAL" clId="{F6700264-7274-4DC9-BB6D-55AE9BA47D9A}" dt="2021-11-17T15:59:26.252" v="1769" actId="478"/>
          <ac:cxnSpMkLst>
            <pc:docMk/>
            <pc:sldMk cId="2117204231" sldId="2597"/>
            <ac:cxnSpMk id="58" creationId="{DAF6274D-1083-477C-BCAD-A6687D8B62F8}"/>
          </ac:cxnSpMkLst>
        </pc:cxnChg>
        <pc:cxnChg chg="del">
          <ac:chgData name="Müller, Kurt (SI BP S TSS ACD)" userId="e7e82c7e-80c6-42a5-ab71-24588885b7fe" providerId="ADAL" clId="{F6700264-7274-4DC9-BB6D-55AE9BA47D9A}" dt="2021-11-17T15:59:26.252" v="1769" actId="478"/>
          <ac:cxnSpMkLst>
            <pc:docMk/>
            <pc:sldMk cId="2117204231" sldId="2597"/>
            <ac:cxnSpMk id="60" creationId="{08542A0D-98D2-4CF9-AAE0-7CE244F0CE61}"/>
          </ac:cxnSpMkLst>
        </pc:cxnChg>
        <pc:cxnChg chg="del">
          <ac:chgData name="Müller, Kurt (SI BP S TSS ACD)" userId="e7e82c7e-80c6-42a5-ab71-24588885b7fe" providerId="ADAL" clId="{F6700264-7274-4DC9-BB6D-55AE9BA47D9A}" dt="2021-11-17T15:59:26.252" v="1769" actId="478"/>
          <ac:cxnSpMkLst>
            <pc:docMk/>
            <pc:sldMk cId="2117204231" sldId="2597"/>
            <ac:cxnSpMk id="61" creationId="{9993E1F7-EB3E-48FA-BCCD-28D3DE77D0DF}"/>
          </ac:cxnSpMkLst>
        </pc:cxnChg>
        <pc:cxnChg chg="del">
          <ac:chgData name="Müller, Kurt (SI BP S TSS ACD)" userId="e7e82c7e-80c6-42a5-ab71-24588885b7fe" providerId="ADAL" clId="{F6700264-7274-4DC9-BB6D-55AE9BA47D9A}" dt="2021-11-17T15:59:26.252" v="1769" actId="478"/>
          <ac:cxnSpMkLst>
            <pc:docMk/>
            <pc:sldMk cId="2117204231" sldId="2597"/>
            <ac:cxnSpMk id="62" creationId="{3C7772F4-B982-4020-8D8B-9EFE86EDE679}"/>
          </ac:cxnSpMkLst>
        </pc:cxnChg>
        <pc:cxnChg chg="del">
          <ac:chgData name="Müller, Kurt (SI BP S TSS ACD)" userId="e7e82c7e-80c6-42a5-ab71-24588885b7fe" providerId="ADAL" clId="{F6700264-7274-4DC9-BB6D-55AE9BA47D9A}" dt="2021-11-17T15:59:26.252" v="1769" actId="478"/>
          <ac:cxnSpMkLst>
            <pc:docMk/>
            <pc:sldMk cId="2117204231" sldId="2597"/>
            <ac:cxnSpMk id="64" creationId="{EF76C080-7356-4484-B74F-C0C3A9989E54}"/>
          </ac:cxnSpMkLst>
        </pc:cxnChg>
        <pc:cxnChg chg="del">
          <ac:chgData name="Müller, Kurt (SI BP S TSS ACD)" userId="e7e82c7e-80c6-42a5-ab71-24588885b7fe" providerId="ADAL" clId="{F6700264-7274-4DC9-BB6D-55AE9BA47D9A}" dt="2021-11-17T15:59:26.252" v="1769" actId="478"/>
          <ac:cxnSpMkLst>
            <pc:docMk/>
            <pc:sldMk cId="2117204231" sldId="2597"/>
            <ac:cxnSpMk id="66" creationId="{5B0F7E9C-2BF2-412A-A3D0-A1648DDD7C49}"/>
          </ac:cxnSpMkLst>
        </pc:cxnChg>
        <pc:cxnChg chg="del">
          <ac:chgData name="Müller, Kurt (SI BP S TSS ACD)" userId="e7e82c7e-80c6-42a5-ab71-24588885b7fe" providerId="ADAL" clId="{F6700264-7274-4DC9-BB6D-55AE9BA47D9A}" dt="2021-11-17T15:59:26.252" v="1769" actId="478"/>
          <ac:cxnSpMkLst>
            <pc:docMk/>
            <pc:sldMk cId="2117204231" sldId="2597"/>
            <ac:cxnSpMk id="67" creationId="{49D6B92A-05DE-4038-9247-93267FD925BF}"/>
          </ac:cxnSpMkLst>
        </pc:cxnChg>
      </pc:sldChg>
      <pc:sldMasterChg chg="modSp mod delSldLayout">
        <pc:chgData name="Müller, Kurt (SI BP S TSS ACD)" userId="e7e82c7e-80c6-42a5-ab71-24588885b7fe" providerId="ADAL" clId="{F6700264-7274-4DC9-BB6D-55AE9BA47D9A}" dt="2021-11-25T20:41:53.618" v="3970" actId="207"/>
        <pc:sldMasterMkLst>
          <pc:docMk/>
          <pc:sldMasterMk cId="0" sldId="2147483669"/>
        </pc:sldMasterMkLst>
        <pc:graphicFrameChg chg="modGraphic">
          <ac:chgData name="Müller, Kurt (SI BP S TSS ACD)" userId="e7e82c7e-80c6-42a5-ab71-24588885b7fe" providerId="ADAL" clId="{F6700264-7274-4DC9-BB6D-55AE9BA47D9A}" dt="2021-11-25T20:41:53.618" v="3970" actId="207"/>
          <ac:graphicFrameMkLst>
            <pc:docMk/>
            <pc:sldMasterMk cId="0" sldId="2147483669"/>
            <ac:graphicFrameMk id="26" creationId="{E7842646-36CC-4D12-A2D9-CF80BD2DAF7A}"/>
          </ac:graphicFrameMkLst>
        </pc:graphicFrameChg>
        <pc:sldLayoutChg chg="del">
          <pc:chgData name="Müller, Kurt (SI BP S TSS ACD)" userId="e7e82c7e-80c6-42a5-ab71-24588885b7fe" providerId="ADAL" clId="{F6700264-7274-4DC9-BB6D-55AE9BA47D9A}" dt="2021-11-16T18:30:49.637" v="523" actId="47"/>
          <pc:sldLayoutMkLst>
            <pc:docMk/>
            <pc:sldMasterMk cId="0" sldId="2147483669"/>
            <pc:sldLayoutMk cId="662030837" sldId="2147483695"/>
          </pc:sldLayoutMkLst>
        </pc:sldLayoutChg>
      </pc:sldMasterChg>
    </pc:docChg>
  </pc:docChgLst>
  <pc:docChgLst>
    <pc:chgData name="Müller, Kurt (SI BP S TSS TR)" userId="e7e82c7e-80c6-42a5-ab71-24588885b7fe" providerId="ADAL" clId="{1DBCD8F4-1092-4983-A5C8-5D8540828727}"/>
    <pc:docChg chg="undo custSel addSld delSld modSld">
      <pc:chgData name="Müller, Kurt (SI BP S TSS TR)" userId="e7e82c7e-80c6-42a5-ab71-24588885b7fe" providerId="ADAL" clId="{1DBCD8F4-1092-4983-A5C8-5D8540828727}" dt="2021-09-27T15:35:29.128" v="125" actId="113"/>
      <pc:docMkLst>
        <pc:docMk/>
      </pc:docMkLst>
      <pc:sldChg chg="del">
        <pc:chgData name="Müller, Kurt (SI BP S TSS TR)" userId="e7e82c7e-80c6-42a5-ab71-24588885b7fe" providerId="ADAL" clId="{1DBCD8F4-1092-4983-A5C8-5D8540828727}" dt="2021-07-23T14:00:57.203" v="1" actId="47"/>
        <pc:sldMkLst>
          <pc:docMk/>
          <pc:sldMk cId="3044083358" sldId="268"/>
        </pc:sldMkLst>
      </pc:sldChg>
      <pc:sldChg chg="del">
        <pc:chgData name="Müller, Kurt (SI BP S TSS TR)" userId="e7e82c7e-80c6-42a5-ab71-24588885b7fe" providerId="ADAL" clId="{1DBCD8F4-1092-4983-A5C8-5D8540828727}" dt="2021-07-23T14:00:57.203" v="1" actId="47"/>
        <pc:sldMkLst>
          <pc:docMk/>
          <pc:sldMk cId="0" sldId="494"/>
        </pc:sldMkLst>
      </pc:sldChg>
      <pc:sldChg chg="del">
        <pc:chgData name="Müller, Kurt (SI BP S TSS TR)" userId="e7e82c7e-80c6-42a5-ab71-24588885b7fe" providerId="ADAL" clId="{1DBCD8F4-1092-4983-A5C8-5D8540828727}" dt="2021-07-23T14:00:57.203" v="1" actId="47"/>
        <pc:sldMkLst>
          <pc:docMk/>
          <pc:sldMk cId="0" sldId="499"/>
        </pc:sldMkLst>
      </pc:sldChg>
      <pc:sldChg chg="addSp delSp modSp mod">
        <pc:chgData name="Müller, Kurt (SI BP S TSS TR)" userId="e7e82c7e-80c6-42a5-ab71-24588885b7fe" providerId="ADAL" clId="{1DBCD8F4-1092-4983-A5C8-5D8540828727}" dt="2021-09-27T14:03:11.546" v="120" actId="20577"/>
        <pc:sldMkLst>
          <pc:docMk/>
          <pc:sldMk cId="3220879553" sldId="509"/>
        </pc:sldMkLst>
        <pc:spChg chg="mod">
          <ac:chgData name="Müller, Kurt (SI BP S TSS TR)" userId="e7e82c7e-80c6-42a5-ab71-24588885b7fe" providerId="ADAL" clId="{1DBCD8F4-1092-4983-A5C8-5D8540828727}" dt="2021-09-27T14:03:07.617" v="119" actId="6549"/>
          <ac:spMkLst>
            <pc:docMk/>
            <pc:sldMk cId="3220879553" sldId="509"/>
            <ac:spMk id="7" creationId="{A7DD355B-1CCA-4152-B861-77D7474104B2}"/>
          </ac:spMkLst>
        </pc:spChg>
        <pc:spChg chg="mod">
          <ac:chgData name="Müller, Kurt (SI BP S TSS TR)" userId="e7e82c7e-80c6-42a5-ab71-24588885b7fe" providerId="ADAL" clId="{1DBCD8F4-1092-4983-A5C8-5D8540828727}" dt="2021-09-27T14:02:41.547" v="117" actId="1076"/>
          <ac:spMkLst>
            <pc:docMk/>
            <pc:sldMk cId="3220879553" sldId="509"/>
            <ac:spMk id="8" creationId="{2714153C-2224-4138-AB37-41749B14D4D8}"/>
          </ac:spMkLst>
        </pc:spChg>
        <pc:spChg chg="del mod">
          <ac:chgData name="Müller, Kurt (SI BP S TSS TR)" userId="e7e82c7e-80c6-42a5-ab71-24588885b7fe" providerId="ADAL" clId="{1DBCD8F4-1092-4983-A5C8-5D8540828727}" dt="2021-09-27T14:02:37.360" v="115" actId="478"/>
          <ac:spMkLst>
            <pc:docMk/>
            <pc:sldMk cId="3220879553" sldId="509"/>
            <ac:spMk id="9" creationId="{6712DE92-6270-4A4B-8483-6E6EBF6ED708}"/>
          </ac:spMkLst>
        </pc:spChg>
        <pc:spChg chg="mod">
          <ac:chgData name="Müller, Kurt (SI BP S TSS TR)" userId="e7e82c7e-80c6-42a5-ab71-24588885b7fe" providerId="ADAL" clId="{1DBCD8F4-1092-4983-A5C8-5D8540828727}" dt="2021-09-27T14:02:44.223" v="118" actId="1076"/>
          <ac:spMkLst>
            <pc:docMk/>
            <pc:sldMk cId="3220879553" sldId="509"/>
            <ac:spMk id="11" creationId="{EF067F3A-F0C1-4E60-974D-8AF14765AB51}"/>
          </ac:spMkLst>
        </pc:spChg>
        <pc:spChg chg="add mod">
          <ac:chgData name="Müller, Kurt (SI BP S TSS TR)" userId="e7e82c7e-80c6-42a5-ab71-24588885b7fe" providerId="ADAL" clId="{1DBCD8F4-1092-4983-A5C8-5D8540828727}" dt="2021-09-27T09:45:41.234" v="73" actId="1076"/>
          <ac:spMkLst>
            <pc:docMk/>
            <pc:sldMk cId="3220879553" sldId="509"/>
            <ac:spMk id="12" creationId="{A6670205-5A1B-4D5F-AC92-0C6BD2B9E72A}"/>
          </ac:spMkLst>
        </pc:spChg>
        <pc:spChg chg="mod">
          <ac:chgData name="Müller, Kurt (SI BP S TSS TR)" userId="e7e82c7e-80c6-42a5-ab71-24588885b7fe" providerId="ADAL" clId="{1DBCD8F4-1092-4983-A5C8-5D8540828727}" dt="2021-09-27T14:03:11.546" v="120" actId="20577"/>
          <ac:spMkLst>
            <pc:docMk/>
            <pc:sldMk cId="3220879553" sldId="509"/>
            <ac:spMk id="9222" creationId="{59304753-3D28-4631-BD0E-7DBF8A1EA6E1}"/>
          </ac:spMkLst>
        </pc:spChg>
      </pc:sldChg>
      <pc:sldChg chg="del">
        <pc:chgData name="Müller, Kurt (SI BP S TSS TR)" userId="e7e82c7e-80c6-42a5-ab71-24588885b7fe" providerId="ADAL" clId="{1DBCD8F4-1092-4983-A5C8-5D8540828727}" dt="2021-07-23T14:00:57.203" v="1" actId="47"/>
        <pc:sldMkLst>
          <pc:docMk/>
          <pc:sldMk cId="0" sldId="510"/>
        </pc:sldMkLst>
      </pc:sldChg>
      <pc:sldChg chg="addSp modSp mod">
        <pc:chgData name="Müller, Kurt (SI BP S TSS TR)" userId="e7e82c7e-80c6-42a5-ab71-24588885b7fe" providerId="ADAL" clId="{1DBCD8F4-1092-4983-A5C8-5D8540828727}" dt="2021-09-27T15:18:49.806" v="123" actId="1076"/>
        <pc:sldMkLst>
          <pc:docMk/>
          <pc:sldMk cId="0" sldId="511"/>
        </pc:sldMkLst>
        <pc:picChg chg="add mod">
          <ac:chgData name="Müller, Kurt (SI BP S TSS TR)" userId="e7e82c7e-80c6-42a5-ab71-24588885b7fe" providerId="ADAL" clId="{1DBCD8F4-1092-4983-A5C8-5D8540828727}" dt="2021-09-27T15:18:49.806" v="123" actId="1076"/>
          <ac:picMkLst>
            <pc:docMk/>
            <pc:sldMk cId="0" sldId="511"/>
            <ac:picMk id="3" creationId="{23350CB3-A24B-4B45-982D-D8CE98B04E44}"/>
          </ac:picMkLst>
        </pc:picChg>
      </pc:sldChg>
      <pc:sldChg chg="del">
        <pc:chgData name="Müller, Kurt (SI BP S TSS TR)" userId="e7e82c7e-80c6-42a5-ab71-24588885b7fe" providerId="ADAL" clId="{1DBCD8F4-1092-4983-A5C8-5D8540828727}" dt="2021-07-23T14:00:57.203" v="1" actId="47"/>
        <pc:sldMkLst>
          <pc:docMk/>
          <pc:sldMk cId="0" sldId="513"/>
        </pc:sldMkLst>
      </pc:sldChg>
      <pc:sldChg chg="del">
        <pc:chgData name="Müller, Kurt (SI BP S TSS TR)" userId="e7e82c7e-80c6-42a5-ab71-24588885b7fe" providerId="ADAL" clId="{1DBCD8F4-1092-4983-A5C8-5D8540828727}" dt="2021-07-23T14:00:57.203" v="1" actId="47"/>
        <pc:sldMkLst>
          <pc:docMk/>
          <pc:sldMk cId="0" sldId="514"/>
        </pc:sldMkLst>
      </pc:sldChg>
      <pc:sldChg chg="del">
        <pc:chgData name="Müller, Kurt (SI BP S TSS TR)" userId="e7e82c7e-80c6-42a5-ab71-24588885b7fe" providerId="ADAL" clId="{1DBCD8F4-1092-4983-A5C8-5D8540828727}" dt="2021-07-23T14:00:57.203" v="1" actId="47"/>
        <pc:sldMkLst>
          <pc:docMk/>
          <pc:sldMk cId="0" sldId="515"/>
        </pc:sldMkLst>
      </pc:sldChg>
      <pc:sldChg chg="del">
        <pc:chgData name="Müller, Kurt (SI BP S TSS TR)" userId="e7e82c7e-80c6-42a5-ab71-24588885b7fe" providerId="ADAL" clId="{1DBCD8F4-1092-4983-A5C8-5D8540828727}" dt="2021-07-23T14:00:57.203" v="1" actId="47"/>
        <pc:sldMkLst>
          <pc:docMk/>
          <pc:sldMk cId="0" sldId="516"/>
        </pc:sldMkLst>
      </pc:sldChg>
      <pc:sldChg chg="del">
        <pc:chgData name="Müller, Kurt (SI BP S TSS TR)" userId="e7e82c7e-80c6-42a5-ab71-24588885b7fe" providerId="ADAL" clId="{1DBCD8F4-1092-4983-A5C8-5D8540828727}" dt="2021-07-23T14:00:57.203" v="1" actId="47"/>
        <pc:sldMkLst>
          <pc:docMk/>
          <pc:sldMk cId="0" sldId="517"/>
        </pc:sldMkLst>
      </pc:sldChg>
      <pc:sldChg chg="del">
        <pc:chgData name="Müller, Kurt (SI BP S TSS TR)" userId="e7e82c7e-80c6-42a5-ab71-24588885b7fe" providerId="ADAL" clId="{1DBCD8F4-1092-4983-A5C8-5D8540828727}" dt="2021-07-23T14:00:57.203" v="1" actId="47"/>
        <pc:sldMkLst>
          <pc:docMk/>
          <pc:sldMk cId="0" sldId="518"/>
        </pc:sldMkLst>
      </pc:sldChg>
      <pc:sldChg chg="del">
        <pc:chgData name="Müller, Kurt (SI BP S TSS TR)" userId="e7e82c7e-80c6-42a5-ab71-24588885b7fe" providerId="ADAL" clId="{1DBCD8F4-1092-4983-A5C8-5D8540828727}" dt="2021-07-23T14:00:57.203" v="1" actId="47"/>
        <pc:sldMkLst>
          <pc:docMk/>
          <pc:sldMk cId="0" sldId="519"/>
        </pc:sldMkLst>
      </pc:sldChg>
      <pc:sldChg chg="del">
        <pc:chgData name="Müller, Kurt (SI BP S TSS TR)" userId="e7e82c7e-80c6-42a5-ab71-24588885b7fe" providerId="ADAL" clId="{1DBCD8F4-1092-4983-A5C8-5D8540828727}" dt="2021-07-23T14:00:57.203" v="1" actId="47"/>
        <pc:sldMkLst>
          <pc:docMk/>
          <pc:sldMk cId="0" sldId="520"/>
        </pc:sldMkLst>
      </pc:sldChg>
      <pc:sldChg chg="del">
        <pc:chgData name="Müller, Kurt (SI BP S TSS TR)" userId="e7e82c7e-80c6-42a5-ab71-24588885b7fe" providerId="ADAL" clId="{1DBCD8F4-1092-4983-A5C8-5D8540828727}" dt="2021-07-23T14:00:43.428" v="0" actId="47"/>
        <pc:sldMkLst>
          <pc:docMk/>
          <pc:sldMk cId="2664962741" sldId="670"/>
        </pc:sldMkLst>
      </pc:sldChg>
      <pc:sldChg chg="del">
        <pc:chgData name="Müller, Kurt (SI BP S TSS TR)" userId="e7e82c7e-80c6-42a5-ab71-24588885b7fe" providerId="ADAL" clId="{1DBCD8F4-1092-4983-A5C8-5D8540828727}" dt="2021-07-23T14:00:57.203" v="1" actId="47"/>
        <pc:sldMkLst>
          <pc:docMk/>
          <pc:sldMk cId="3924494388" sldId="675"/>
        </pc:sldMkLst>
      </pc:sldChg>
      <pc:sldChg chg="del">
        <pc:chgData name="Müller, Kurt (SI BP S TSS TR)" userId="e7e82c7e-80c6-42a5-ab71-24588885b7fe" providerId="ADAL" clId="{1DBCD8F4-1092-4983-A5C8-5D8540828727}" dt="2021-07-23T14:00:57.203" v="1" actId="47"/>
        <pc:sldMkLst>
          <pc:docMk/>
          <pc:sldMk cId="3036489879" sldId="676"/>
        </pc:sldMkLst>
      </pc:sldChg>
      <pc:sldChg chg="del">
        <pc:chgData name="Müller, Kurt (SI BP S TSS TR)" userId="e7e82c7e-80c6-42a5-ab71-24588885b7fe" providerId="ADAL" clId="{1DBCD8F4-1092-4983-A5C8-5D8540828727}" dt="2021-07-23T14:00:57.203" v="1" actId="47"/>
        <pc:sldMkLst>
          <pc:docMk/>
          <pc:sldMk cId="0" sldId="704"/>
        </pc:sldMkLst>
      </pc:sldChg>
      <pc:sldChg chg="del">
        <pc:chgData name="Müller, Kurt (SI BP S TSS TR)" userId="e7e82c7e-80c6-42a5-ab71-24588885b7fe" providerId="ADAL" clId="{1DBCD8F4-1092-4983-A5C8-5D8540828727}" dt="2021-07-23T14:00:57.203" v="1" actId="47"/>
        <pc:sldMkLst>
          <pc:docMk/>
          <pc:sldMk cId="0" sldId="705"/>
        </pc:sldMkLst>
      </pc:sldChg>
      <pc:sldChg chg="del">
        <pc:chgData name="Müller, Kurt (SI BP S TSS TR)" userId="e7e82c7e-80c6-42a5-ab71-24588885b7fe" providerId="ADAL" clId="{1DBCD8F4-1092-4983-A5C8-5D8540828727}" dt="2021-07-23T14:00:57.203" v="1" actId="47"/>
        <pc:sldMkLst>
          <pc:docMk/>
          <pc:sldMk cId="0" sldId="706"/>
        </pc:sldMkLst>
      </pc:sldChg>
      <pc:sldChg chg="del">
        <pc:chgData name="Müller, Kurt (SI BP S TSS TR)" userId="e7e82c7e-80c6-42a5-ab71-24588885b7fe" providerId="ADAL" clId="{1DBCD8F4-1092-4983-A5C8-5D8540828727}" dt="2021-07-23T14:00:43.428" v="0" actId="47"/>
        <pc:sldMkLst>
          <pc:docMk/>
          <pc:sldMk cId="0" sldId="879"/>
        </pc:sldMkLst>
      </pc:sldChg>
      <pc:sldChg chg="del">
        <pc:chgData name="Müller, Kurt (SI BP S TSS TR)" userId="e7e82c7e-80c6-42a5-ab71-24588885b7fe" providerId="ADAL" clId="{1DBCD8F4-1092-4983-A5C8-5D8540828727}" dt="2021-07-23T14:00:43.428" v="0" actId="47"/>
        <pc:sldMkLst>
          <pc:docMk/>
          <pc:sldMk cId="0" sldId="880"/>
        </pc:sldMkLst>
      </pc:sldChg>
      <pc:sldChg chg="del">
        <pc:chgData name="Müller, Kurt (SI BP S TSS TR)" userId="e7e82c7e-80c6-42a5-ab71-24588885b7fe" providerId="ADAL" clId="{1DBCD8F4-1092-4983-A5C8-5D8540828727}" dt="2021-07-23T14:00:43.428" v="0" actId="47"/>
        <pc:sldMkLst>
          <pc:docMk/>
          <pc:sldMk cId="0" sldId="881"/>
        </pc:sldMkLst>
      </pc:sldChg>
      <pc:sldChg chg="del">
        <pc:chgData name="Müller, Kurt (SI BP S TSS TR)" userId="e7e82c7e-80c6-42a5-ab71-24588885b7fe" providerId="ADAL" clId="{1DBCD8F4-1092-4983-A5C8-5D8540828727}" dt="2021-07-23T14:00:43.428" v="0" actId="47"/>
        <pc:sldMkLst>
          <pc:docMk/>
          <pc:sldMk cId="0" sldId="882"/>
        </pc:sldMkLst>
      </pc:sldChg>
      <pc:sldChg chg="del">
        <pc:chgData name="Müller, Kurt (SI BP S TSS TR)" userId="e7e82c7e-80c6-42a5-ab71-24588885b7fe" providerId="ADAL" clId="{1DBCD8F4-1092-4983-A5C8-5D8540828727}" dt="2021-07-23T14:00:43.428" v="0" actId="47"/>
        <pc:sldMkLst>
          <pc:docMk/>
          <pc:sldMk cId="2421002243" sldId="935"/>
        </pc:sldMkLst>
      </pc:sldChg>
      <pc:sldChg chg="del">
        <pc:chgData name="Müller, Kurt (SI BP S TSS TR)" userId="e7e82c7e-80c6-42a5-ab71-24588885b7fe" providerId="ADAL" clId="{1DBCD8F4-1092-4983-A5C8-5D8540828727}" dt="2021-07-23T14:00:57.203" v="1" actId="47"/>
        <pc:sldMkLst>
          <pc:docMk/>
          <pc:sldMk cId="1204534231" sldId="948"/>
        </pc:sldMkLst>
      </pc:sldChg>
      <pc:sldChg chg="del">
        <pc:chgData name="Müller, Kurt (SI BP S TSS TR)" userId="e7e82c7e-80c6-42a5-ab71-24588885b7fe" providerId="ADAL" clId="{1DBCD8F4-1092-4983-A5C8-5D8540828727}" dt="2021-07-23T14:00:57.203" v="1" actId="47"/>
        <pc:sldMkLst>
          <pc:docMk/>
          <pc:sldMk cId="1838077587" sldId="959"/>
        </pc:sldMkLst>
      </pc:sldChg>
      <pc:sldChg chg="del">
        <pc:chgData name="Müller, Kurt (SI BP S TSS TR)" userId="e7e82c7e-80c6-42a5-ab71-24588885b7fe" providerId="ADAL" clId="{1DBCD8F4-1092-4983-A5C8-5D8540828727}" dt="2021-07-23T14:00:57.203" v="1" actId="47"/>
        <pc:sldMkLst>
          <pc:docMk/>
          <pc:sldMk cId="838106306" sldId="960"/>
        </pc:sldMkLst>
      </pc:sldChg>
      <pc:sldChg chg="del">
        <pc:chgData name="Müller, Kurt (SI BP S TSS TR)" userId="e7e82c7e-80c6-42a5-ab71-24588885b7fe" providerId="ADAL" clId="{1DBCD8F4-1092-4983-A5C8-5D8540828727}" dt="2021-07-23T14:00:43.428" v="0" actId="47"/>
        <pc:sldMkLst>
          <pc:docMk/>
          <pc:sldMk cId="1094743058" sldId="961"/>
        </pc:sldMkLst>
      </pc:sldChg>
      <pc:sldChg chg="del">
        <pc:chgData name="Müller, Kurt (SI BP S TSS TR)" userId="e7e82c7e-80c6-42a5-ab71-24588885b7fe" providerId="ADAL" clId="{1DBCD8F4-1092-4983-A5C8-5D8540828727}" dt="2021-07-23T14:00:57.203" v="1" actId="47"/>
        <pc:sldMkLst>
          <pc:docMk/>
          <pc:sldMk cId="4149258645" sldId="962"/>
        </pc:sldMkLst>
      </pc:sldChg>
      <pc:sldChg chg="del">
        <pc:chgData name="Müller, Kurt (SI BP S TSS TR)" userId="e7e82c7e-80c6-42a5-ab71-24588885b7fe" providerId="ADAL" clId="{1DBCD8F4-1092-4983-A5C8-5D8540828727}" dt="2021-07-23T14:00:57.203" v="1" actId="47"/>
        <pc:sldMkLst>
          <pc:docMk/>
          <pc:sldMk cId="1044414276" sldId="963"/>
        </pc:sldMkLst>
      </pc:sldChg>
      <pc:sldChg chg="del">
        <pc:chgData name="Müller, Kurt (SI BP S TSS TR)" userId="e7e82c7e-80c6-42a5-ab71-24588885b7fe" providerId="ADAL" clId="{1DBCD8F4-1092-4983-A5C8-5D8540828727}" dt="2021-07-23T14:00:57.203" v="1" actId="47"/>
        <pc:sldMkLst>
          <pc:docMk/>
          <pc:sldMk cId="3768639539" sldId="966"/>
        </pc:sldMkLst>
      </pc:sldChg>
      <pc:sldChg chg="del">
        <pc:chgData name="Müller, Kurt (SI BP S TSS TR)" userId="e7e82c7e-80c6-42a5-ab71-24588885b7fe" providerId="ADAL" clId="{1DBCD8F4-1092-4983-A5C8-5D8540828727}" dt="2021-07-23T14:00:43.428" v="0" actId="47"/>
        <pc:sldMkLst>
          <pc:docMk/>
          <pc:sldMk cId="4198579175" sldId="1017"/>
        </pc:sldMkLst>
      </pc:sldChg>
      <pc:sldChg chg="del">
        <pc:chgData name="Müller, Kurt (SI BP S TSS TR)" userId="e7e82c7e-80c6-42a5-ab71-24588885b7fe" providerId="ADAL" clId="{1DBCD8F4-1092-4983-A5C8-5D8540828727}" dt="2021-07-23T14:00:57.203" v="1" actId="47"/>
        <pc:sldMkLst>
          <pc:docMk/>
          <pc:sldMk cId="1721004004" sldId="1027"/>
        </pc:sldMkLst>
      </pc:sldChg>
      <pc:sldChg chg="del">
        <pc:chgData name="Müller, Kurt (SI BP S TSS TR)" userId="e7e82c7e-80c6-42a5-ab71-24588885b7fe" providerId="ADAL" clId="{1DBCD8F4-1092-4983-A5C8-5D8540828727}" dt="2021-07-23T14:00:43.428" v="0" actId="47"/>
        <pc:sldMkLst>
          <pc:docMk/>
          <pc:sldMk cId="2593355085" sldId="2376"/>
        </pc:sldMkLst>
      </pc:sldChg>
      <pc:sldChg chg="del">
        <pc:chgData name="Müller, Kurt (SI BP S TSS TR)" userId="e7e82c7e-80c6-42a5-ab71-24588885b7fe" providerId="ADAL" clId="{1DBCD8F4-1092-4983-A5C8-5D8540828727}" dt="2021-07-23T14:00:43.428" v="0" actId="47"/>
        <pc:sldMkLst>
          <pc:docMk/>
          <pc:sldMk cId="627141999" sldId="2389"/>
        </pc:sldMkLst>
      </pc:sldChg>
      <pc:sldChg chg="del">
        <pc:chgData name="Müller, Kurt (SI BP S TSS TR)" userId="e7e82c7e-80c6-42a5-ab71-24588885b7fe" providerId="ADAL" clId="{1DBCD8F4-1092-4983-A5C8-5D8540828727}" dt="2021-07-23T14:00:57.203" v="1" actId="47"/>
        <pc:sldMkLst>
          <pc:docMk/>
          <pc:sldMk cId="4077194298" sldId="2396"/>
        </pc:sldMkLst>
      </pc:sldChg>
      <pc:sldChg chg="del">
        <pc:chgData name="Müller, Kurt (SI BP S TSS TR)" userId="e7e82c7e-80c6-42a5-ab71-24588885b7fe" providerId="ADAL" clId="{1DBCD8F4-1092-4983-A5C8-5D8540828727}" dt="2021-07-23T14:00:43.428" v="0" actId="47"/>
        <pc:sldMkLst>
          <pc:docMk/>
          <pc:sldMk cId="3131744600" sldId="2401"/>
        </pc:sldMkLst>
      </pc:sldChg>
      <pc:sldChg chg="del">
        <pc:chgData name="Müller, Kurt (SI BP S TSS TR)" userId="e7e82c7e-80c6-42a5-ab71-24588885b7fe" providerId="ADAL" clId="{1DBCD8F4-1092-4983-A5C8-5D8540828727}" dt="2021-07-23T14:00:43.428" v="0" actId="47"/>
        <pc:sldMkLst>
          <pc:docMk/>
          <pc:sldMk cId="525226253" sldId="2413"/>
        </pc:sldMkLst>
      </pc:sldChg>
      <pc:sldChg chg="del">
        <pc:chgData name="Müller, Kurt (SI BP S TSS TR)" userId="e7e82c7e-80c6-42a5-ab71-24588885b7fe" providerId="ADAL" clId="{1DBCD8F4-1092-4983-A5C8-5D8540828727}" dt="2021-07-23T14:00:43.428" v="0" actId="47"/>
        <pc:sldMkLst>
          <pc:docMk/>
          <pc:sldMk cId="1217175717" sldId="2415"/>
        </pc:sldMkLst>
      </pc:sldChg>
      <pc:sldChg chg="del">
        <pc:chgData name="Müller, Kurt (SI BP S TSS TR)" userId="e7e82c7e-80c6-42a5-ab71-24588885b7fe" providerId="ADAL" clId="{1DBCD8F4-1092-4983-A5C8-5D8540828727}" dt="2021-07-23T14:00:43.428" v="0" actId="47"/>
        <pc:sldMkLst>
          <pc:docMk/>
          <pc:sldMk cId="438231851" sldId="2416"/>
        </pc:sldMkLst>
      </pc:sldChg>
      <pc:sldChg chg="del">
        <pc:chgData name="Müller, Kurt (SI BP S TSS TR)" userId="e7e82c7e-80c6-42a5-ab71-24588885b7fe" providerId="ADAL" clId="{1DBCD8F4-1092-4983-A5C8-5D8540828727}" dt="2021-07-23T14:00:43.428" v="0" actId="47"/>
        <pc:sldMkLst>
          <pc:docMk/>
          <pc:sldMk cId="2615247344" sldId="2417"/>
        </pc:sldMkLst>
      </pc:sldChg>
      <pc:sldChg chg="del">
        <pc:chgData name="Müller, Kurt (SI BP S TSS TR)" userId="e7e82c7e-80c6-42a5-ab71-24588885b7fe" providerId="ADAL" clId="{1DBCD8F4-1092-4983-A5C8-5D8540828727}" dt="2021-07-23T14:00:57.203" v="1" actId="47"/>
        <pc:sldMkLst>
          <pc:docMk/>
          <pc:sldMk cId="694935932" sldId="2420"/>
        </pc:sldMkLst>
      </pc:sldChg>
      <pc:sldChg chg="del">
        <pc:chgData name="Müller, Kurt (SI BP S TSS TR)" userId="e7e82c7e-80c6-42a5-ab71-24588885b7fe" providerId="ADAL" clId="{1DBCD8F4-1092-4983-A5C8-5D8540828727}" dt="2021-07-23T14:00:43.428" v="0" actId="47"/>
        <pc:sldMkLst>
          <pc:docMk/>
          <pc:sldMk cId="318514043" sldId="2422"/>
        </pc:sldMkLst>
      </pc:sldChg>
      <pc:sldChg chg="del">
        <pc:chgData name="Müller, Kurt (SI BP S TSS TR)" userId="e7e82c7e-80c6-42a5-ab71-24588885b7fe" providerId="ADAL" clId="{1DBCD8F4-1092-4983-A5C8-5D8540828727}" dt="2021-07-23T14:00:43.428" v="0" actId="47"/>
        <pc:sldMkLst>
          <pc:docMk/>
          <pc:sldMk cId="3671773301" sldId="2423"/>
        </pc:sldMkLst>
      </pc:sldChg>
      <pc:sldChg chg="del">
        <pc:chgData name="Müller, Kurt (SI BP S TSS TR)" userId="e7e82c7e-80c6-42a5-ab71-24588885b7fe" providerId="ADAL" clId="{1DBCD8F4-1092-4983-A5C8-5D8540828727}" dt="2021-07-23T14:00:43.428" v="0" actId="47"/>
        <pc:sldMkLst>
          <pc:docMk/>
          <pc:sldMk cId="802286998" sldId="2424"/>
        </pc:sldMkLst>
      </pc:sldChg>
      <pc:sldChg chg="del">
        <pc:chgData name="Müller, Kurt (SI BP S TSS TR)" userId="e7e82c7e-80c6-42a5-ab71-24588885b7fe" providerId="ADAL" clId="{1DBCD8F4-1092-4983-A5C8-5D8540828727}" dt="2021-07-23T14:00:43.428" v="0" actId="47"/>
        <pc:sldMkLst>
          <pc:docMk/>
          <pc:sldMk cId="4052440105" sldId="2429"/>
        </pc:sldMkLst>
      </pc:sldChg>
      <pc:sldChg chg="del">
        <pc:chgData name="Müller, Kurt (SI BP S TSS TR)" userId="e7e82c7e-80c6-42a5-ab71-24588885b7fe" providerId="ADAL" clId="{1DBCD8F4-1092-4983-A5C8-5D8540828727}" dt="2021-07-23T14:00:43.428" v="0" actId="47"/>
        <pc:sldMkLst>
          <pc:docMk/>
          <pc:sldMk cId="151343718" sldId="2433"/>
        </pc:sldMkLst>
      </pc:sldChg>
      <pc:sldChg chg="del">
        <pc:chgData name="Müller, Kurt (SI BP S TSS TR)" userId="e7e82c7e-80c6-42a5-ab71-24588885b7fe" providerId="ADAL" clId="{1DBCD8F4-1092-4983-A5C8-5D8540828727}" dt="2021-07-23T14:00:43.428" v="0" actId="47"/>
        <pc:sldMkLst>
          <pc:docMk/>
          <pc:sldMk cId="1623929652" sldId="2434"/>
        </pc:sldMkLst>
      </pc:sldChg>
      <pc:sldChg chg="del">
        <pc:chgData name="Müller, Kurt (SI BP S TSS TR)" userId="e7e82c7e-80c6-42a5-ab71-24588885b7fe" providerId="ADAL" clId="{1DBCD8F4-1092-4983-A5C8-5D8540828727}" dt="2021-07-23T14:00:43.428" v="0" actId="47"/>
        <pc:sldMkLst>
          <pc:docMk/>
          <pc:sldMk cId="825092287" sldId="2435"/>
        </pc:sldMkLst>
      </pc:sldChg>
      <pc:sldChg chg="del">
        <pc:chgData name="Müller, Kurt (SI BP S TSS TR)" userId="e7e82c7e-80c6-42a5-ab71-24588885b7fe" providerId="ADAL" clId="{1DBCD8F4-1092-4983-A5C8-5D8540828727}" dt="2021-07-23T14:00:43.428" v="0" actId="47"/>
        <pc:sldMkLst>
          <pc:docMk/>
          <pc:sldMk cId="2020720954" sldId="2437"/>
        </pc:sldMkLst>
      </pc:sldChg>
      <pc:sldChg chg="del">
        <pc:chgData name="Müller, Kurt (SI BP S TSS TR)" userId="e7e82c7e-80c6-42a5-ab71-24588885b7fe" providerId="ADAL" clId="{1DBCD8F4-1092-4983-A5C8-5D8540828727}" dt="2021-07-23T14:00:43.428" v="0" actId="47"/>
        <pc:sldMkLst>
          <pc:docMk/>
          <pc:sldMk cId="3007351699" sldId="2438"/>
        </pc:sldMkLst>
      </pc:sldChg>
      <pc:sldChg chg="del">
        <pc:chgData name="Müller, Kurt (SI BP S TSS TR)" userId="e7e82c7e-80c6-42a5-ab71-24588885b7fe" providerId="ADAL" clId="{1DBCD8F4-1092-4983-A5C8-5D8540828727}" dt="2021-07-23T14:00:57.203" v="1" actId="47"/>
        <pc:sldMkLst>
          <pc:docMk/>
          <pc:sldMk cId="3063489011" sldId="2439"/>
        </pc:sldMkLst>
      </pc:sldChg>
      <pc:sldChg chg="del">
        <pc:chgData name="Müller, Kurt (SI BP S TSS TR)" userId="e7e82c7e-80c6-42a5-ab71-24588885b7fe" providerId="ADAL" clId="{1DBCD8F4-1092-4983-A5C8-5D8540828727}" dt="2021-07-23T14:00:57.203" v="1" actId="47"/>
        <pc:sldMkLst>
          <pc:docMk/>
          <pc:sldMk cId="2857005650" sldId="2450"/>
        </pc:sldMkLst>
      </pc:sldChg>
      <pc:sldChg chg="del">
        <pc:chgData name="Müller, Kurt (SI BP S TSS TR)" userId="e7e82c7e-80c6-42a5-ab71-24588885b7fe" providerId="ADAL" clId="{1DBCD8F4-1092-4983-A5C8-5D8540828727}" dt="2021-07-23T14:00:43.428" v="0" actId="47"/>
        <pc:sldMkLst>
          <pc:docMk/>
          <pc:sldMk cId="36792237" sldId="2451"/>
        </pc:sldMkLst>
      </pc:sldChg>
      <pc:sldChg chg="del">
        <pc:chgData name="Müller, Kurt (SI BP S TSS TR)" userId="e7e82c7e-80c6-42a5-ab71-24588885b7fe" providerId="ADAL" clId="{1DBCD8F4-1092-4983-A5C8-5D8540828727}" dt="2021-07-23T14:00:57.203" v="1" actId="47"/>
        <pc:sldMkLst>
          <pc:docMk/>
          <pc:sldMk cId="2825329053" sldId="2453"/>
        </pc:sldMkLst>
      </pc:sldChg>
      <pc:sldChg chg="del">
        <pc:chgData name="Müller, Kurt (SI BP S TSS TR)" userId="e7e82c7e-80c6-42a5-ab71-24588885b7fe" providerId="ADAL" clId="{1DBCD8F4-1092-4983-A5C8-5D8540828727}" dt="2021-07-23T14:00:57.203" v="1" actId="47"/>
        <pc:sldMkLst>
          <pc:docMk/>
          <pc:sldMk cId="1640971921" sldId="2454"/>
        </pc:sldMkLst>
      </pc:sldChg>
      <pc:sldChg chg="del">
        <pc:chgData name="Müller, Kurt (SI BP S TSS TR)" userId="e7e82c7e-80c6-42a5-ab71-24588885b7fe" providerId="ADAL" clId="{1DBCD8F4-1092-4983-A5C8-5D8540828727}" dt="2021-07-23T14:00:57.203" v="1" actId="47"/>
        <pc:sldMkLst>
          <pc:docMk/>
          <pc:sldMk cId="1504632259" sldId="2455"/>
        </pc:sldMkLst>
      </pc:sldChg>
      <pc:sldChg chg="del">
        <pc:chgData name="Müller, Kurt (SI BP S TSS TR)" userId="e7e82c7e-80c6-42a5-ab71-24588885b7fe" providerId="ADAL" clId="{1DBCD8F4-1092-4983-A5C8-5D8540828727}" dt="2021-07-23T14:00:43.428" v="0" actId="47"/>
        <pc:sldMkLst>
          <pc:docMk/>
          <pc:sldMk cId="703990873" sldId="2456"/>
        </pc:sldMkLst>
      </pc:sldChg>
      <pc:sldChg chg="del">
        <pc:chgData name="Müller, Kurt (SI BP S TSS TR)" userId="e7e82c7e-80c6-42a5-ab71-24588885b7fe" providerId="ADAL" clId="{1DBCD8F4-1092-4983-A5C8-5D8540828727}" dt="2021-07-23T14:00:57.203" v="1" actId="47"/>
        <pc:sldMkLst>
          <pc:docMk/>
          <pc:sldMk cId="4145599229" sldId="2458"/>
        </pc:sldMkLst>
      </pc:sldChg>
      <pc:sldChg chg="del">
        <pc:chgData name="Müller, Kurt (SI BP S TSS TR)" userId="e7e82c7e-80c6-42a5-ab71-24588885b7fe" providerId="ADAL" clId="{1DBCD8F4-1092-4983-A5C8-5D8540828727}" dt="2021-07-23T14:00:57.203" v="1" actId="47"/>
        <pc:sldMkLst>
          <pc:docMk/>
          <pc:sldMk cId="883980063" sldId="2459"/>
        </pc:sldMkLst>
      </pc:sldChg>
      <pc:sldChg chg="del">
        <pc:chgData name="Müller, Kurt (SI BP S TSS TR)" userId="e7e82c7e-80c6-42a5-ab71-24588885b7fe" providerId="ADAL" clId="{1DBCD8F4-1092-4983-A5C8-5D8540828727}" dt="2021-07-23T14:00:43.428" v="0" actId="47"/>
        <pc:sldMkLst>
          <pc:docMk/>
          <pc:sldMk cId="2771778418" sldId="2461"/>
        </pc:sldMkLst>
      </pc:sldChg>
      <pc:sldChg chg="del">
        <pc:chgData name="Müller, Kurt (SI BP S TSS TR)" userId="e7e82c7e-80c6-42a5-ab71-24588885b7fe" providerId="ADAL" clId="{1DBCD8F4-1092-4983-A5C8-5D8540828727}" dt="2021-07-23T14:00:57.203" v="1" actId="47"/>
        <pc:sldMkLst>
          <pc:docMk/>
          <pc:sldMk cId="1060112155" sldId="2462"/>
        </pc:sldMkLst>
      </pc:sldChg>
      <pc:sldChg chg="del">
        <pc:chgData name="Müller, Kurt (SI BP S TSS TR)" userId="e7e82c7e-80c6-42a5-ab71-24588885b7fe" providerId="ADAL" clId="{1DBCD8F4-1092-4983-A5C8-5D8540828727}" dt="2021-07-23T14:00:57.203" v="1" actId="47"/>
        <pc:sldMkLst>
          <pc:docMk/>
          <pc:sldMk cId="0" sldId="2464"/>
        </pc:sldMkLst>
      </pc:sldChg>
      <pc:sldChg chg="del">
        <pc:chgData name="Müller, Kurt (SI BP S TSS TR)" userId="e7e82c7e-80c6-42a5-ab71-24588885b7fe" providerId="ADAL" clId="{1DBCD8F4-1092-4983-A5C8-5D8540828727}" dt="2021-07-23T14:00:57.203" v="1" actId="47"/>
        <pc:sldMkLst>
          <pc:docMk/>
          <pc:sldMk cId="0" sldId="2465"/>
        </pc:sldMkLst>
      </pc:sldChg>
      <pc:sldChg chg="del">
        <pc:chgData name="Müller, Kurt (SI BP S TSS TR)" userId="e7e82c7e-80c6-42a5-ab71-24588885b7fe" providerId="ADAL" clId="{1DBCD8F4-1092-4983-A5C8-5D8540828727}" dt="2021-07-23T14:00:57.203" v="1" actId="47"/>
        <pc:sldMkLst>
          <pc:docMk/>
          <pc:sldMk cId="0" sldId="2466"/>
        </pc:sldMkLst>
      </pc:sldChg>
      <pc:sldChg chg="del">
        <pc:chgData name="Müller, Kurt (SI BP S TSS TR)" userId="e7e82c7e-80c6-42a5-ab71-24588885b7fe" providerId="ADAL" clId="{1DBCD8F4-1092-4983-A5C8-5D8540828727}" dt="2021-07-23T14:00:57.203" v="1" actId="47"/>
        <pc:sldMkLst>
          <pc:docMk/>
          <pc:sldMk cId="0" sldId="2467"/>
        </pc:sldMkLst>
      </pc:sldChg>
      <pc:sldChg chg="del">
        <pc:chgData name="Müller, Kurt (SI BP S TSS TR)" userId="e7e82c7e-80c6-42a5-ab71-24588885b7fe" providerId="ADAL" clId="{1DBCD8F4-1092-4983-A5C8-5D8540828727}" dt="2021-07-23T14:00:57.203" v="1" actId="47"/>
        <pc:sldMkLst>
          <pc:docMk/>
          <pc:sldMk cId="0" sldId="2468"/>
        </pc:sldMkLst>
      </pc:sldChg>
      <pc:sldChg chg="del">
        <pc:chgData name="Müller, Kurt (SI BP S TSS TR)" userId="e7e82c7e-80c6-42a5-ab71-24588885b7fe" providerId="ADAL" clId="{1DBCD8F4-1092-4983-A5C8-5D8540828727}" dt="2021-07-23T14:00:57.203" v="1" actId="47"/>
        <pc:sldMkLst>
          <pc:docMk/>
          <pc:sldMk cId="0" sldId="2469"/>
        </pc:sldMkLst>
      </pc:sldChg>
      <pc:sldChg chg="del">
        <pc:chgData name="Müller, Kurt (SI BP S TSS TR)" userId="e7e82c7e-80c6-42a5-ab71-24588885b7fe" providerId="ADAL" clId="{1DBCD8F4-1092-4983-A5C8-5D8540828727}" dt="2021-07-23T14:00:57.203" v="1" actId="47"/>
        <pc:sldMkLst>
          <pc:docMk/>
          <pc:sldMk cId="0" sldId="2470"/>
        </pc:sldMkLst>
      </pc:sldChg>
      <pc:sldChg chg="del">
        <pc:chgData name="Müller, Kurt (SI BP S TSS TR)" userId="e7e82c7e-80c6-42a5-ab71-24588885b7fe" providerId="ADAL" clId="{1DBCD8F4-1092-4983-A5C8-5D8540828727}" dt="2021-07-23T14:00:57.203" v="1" actId="47"/>
        <pc:sldMkLst>
          <pc:docMk/>
          <pc:sldMk cId="0" sldId="2471"/>
        </pc:sldMkLst>
      </pc:sldChg>
      <pc:sldChg chg="del">
        <pc:chgData name="Müller, Kurt (SI BP S TSS TR)" userId="e7e82c7e-80c6-42a5-ab71-24588885b7fe" providerId="ADAL" clId="{1DBCD8F4-1092-4983-A5C8-5D8540828727}" dt="2021-07-23T14:00:57.203" v="1" actId="47"/>
        <pc:sldMkLst>
          <pc:docMk/>
          <pc:sldMk cId="0" sldId="2472"/>
        </pc:sldMkLst>
      </pc:sldChg>
      <pc:sldChg chg="del">
        <pc:chgData name="Müller, Kurt (SI BP S TSS TR)" userId="e7e82c7e-80c6-42a5-ab71-24588885b7fe" providerId="ADAL" clId="{1DBCD8F4-1092-4983-A5C8-5D8540828727}" dt="2021-07-23T14:00:57.203" v="1" actId="47"/>
        <pc:sldMkLst>
          <pc:docMk/>
          <pc:sldMk cId="0" sldId="2473"/>
        </pc:sldMkLst>
      </pc:sldChg>
      <pc:sldChg chg="del">
        <pc:chgData name="Müller, Kurt (SI BP S TSS TR)" userId="e7e82c7e-80c6-42a5-ab71-24588885b7fe" providerId="ADAL" clId="{1DBCD8F4-1092-4983-A5C8-5D8540828727}" dt="2021-07-23T14:00:57.203" v="1" actId="47"/>
        <pc:sldMkLst>
          <pc:docMk/>
          <pc:sldMk cId="0" sldId="2474"/>
        </pc:sldMkLst>
      </pc:sldChg>
      <pc:sldChg chg="del">
        <pc:chgData name="Müller, Kurt (SI BP S TSS TR)" userId="e7e82c7e-80c6-42a5-ab71-24588885b7fe" providerId="ADAL" clId="{1DBCD8F4-1092-4983-A5C8-5D8540828727}" dt="2021-07-23T14:00:57.203" v="1" actId="47"/>
        <pc:sldMkLst>
          <pc:docMk/>
          <pc:sldMk cId="1146210905" sldId="2475"/>
        </pc:sldMkLst>
      </pc:sldChg>
      <pc:sldChg chg="del">
        <pc:chgData name="Müller, Kurt (SI BP S TSS TR)" userId="e7e82c7e-80c6-42a5-ab71-24588885b7fe" providerId="ADAL" clId="{1DBCD8F4-1092-4983-A5C8-5D8540828727}" dt="2021-07-23T14:00:57.203" v="1" actId="47"/>
        <pc:sldMkLst>
          <pc:docMk/>
          <pc:sldMk cId="3584621353" sldId="2476"/>
        </pc:sldMkLst>
      </pc:sldChg>
      <pc:sldChg chg="del">
        <pc:chgData name="Müller, Kurt (SI BP S TSS TR)" userId="e7e82c7e-80c6-42a5-ab71-24588885b7fe" providerId="ADAL" clId="{1DBCD8F4-1092-4983-A5C8-5D8540828727}" dt="2021-07-23T14:00:57.203" v="1" actId="47"/>
        <pc:sldMkLst>
          <pc:docMk/>
          <pc:sldMk cId="3362660250" sldId="2477"/>
        </pc:sldMkLst>
      </pc:sldChg>
      <pc:sldChg chg="del">
        <pc:chgData name="Müller, Kurt (SI BP S TSS TR)" userId="e7e82c7e-80c6-42a5-ab71-24588885b7fe" providerId="ADAL" clId="{1DBCD8F4-1092-4983-A5C8-5D8540828727}" dt="2021-07-23T14:00:57.203" v="1" actId="47"/>
        <pc:sldMkLst>
          <pc:docMk/>
          <pc:sldMk cId="2253445001" sldId="2478"/>
        </pc:sldMkLst>
      </pc:sldChg>
      <pc:sldChg chg="del">
        <pc:chgData name="Müller, Kurt (SI BP S TSS TR)" userId="e7e82c7e-80c6-42a5-ab71-24588885b7fe" providerId="ADAL" clId="{1DBCD8F4-1092-4983-A5C8-5D8540828727}" dt="2021-07-23T14:00:57.203" v="1" actId="47"/>
        <pc:sldMkLst>
          <pc:docMk/>
          <pc:sldMk cId="595621035" sldId="2479"/>
        </pc:sldMkLst>
      </pc:sldChg>
      <pc:sldChg chg="del">
        <pc:chgData name="Müller, Kurt (SI BP S TSS TR)" userId="e7e82c7e-80c6-42a5-ab71-24588885b7fe" providerId="ADAL" clId="{1DBCD8F4-1092-4983-A5C8-5D8540828727}" dt="2021-07-23T14:00:57.203" v="1" actId="47"/>
        <pc:sldMkLst>
          <pc:docMk/>
          <pc:sldMk cId="814328118" sldId="2480"/>
        </pc:sldMkLst>
      </pc:sldChg>
      <pc:sldChg chg="del">
        <pc:chgData name="Müller, Kurt (SI BP S TSS TR)" userId="e7e82c7e-80c6-42a5-ab71-24588885b7fe" providerId="ADAL" clId="{1DBCD8F4-1092-4983-A5C8-5D8540828727}" dt="2021-07-23T14:00:57.203" v="1" actId="47"/>
        <pc:sldMkLst>
          <pc:docMk/>
          <pc:sldMk cId="2452202270" sldId="2481"/>
        </pc:sldMkLst>
      </pc:sldChg>
      <pc:sldChg chg="del">
        <pc:chgData name="Müller, Kurt (SI BP S TSS TR)" userId="e7e82c7e-80c6-42a5-ab71-24588885b7fe" providerId="ADAL" clId="{1DBCD8F4-1092-4983-A5C8-5D8540828727}" dt="2021-07-23T14:00:57.203" v="1" actId="47"/>
        <pc:sldMkLst>
          <pc:docMk/>
          <pc:sldMk cId="858666762" sldId="2482"/>
        </pc:sldMkLst>
      </pc:sldChg>
      <pc:sldChg chg="del">
        <pc:chgData name="Müller, Kurt (SI BP S TSS TR)" userId="e7e82c7e-80c6-42a5-ab71-24588885b7fe" providerId="ADAL" clId="{1DBCD8F4-1092-4983-A5C8-5D8540828727}" dt="2021-07-23T14:00:57.203" v="1" actId="47"/>
        <pc:sldMkLst>
          <pc:docMk/>
          <pc:sldMk cId="303393052" sldId="2483"/>
        </pc:sldMkLst>
      </pc:sldChg>
      <pc:sldChg chg="del">
        <pc:chgData name="Müller, Kurt (SI BP S TSS TR)" userId="e7e82c7e-80c6-42a5-ab71-24588885b7fe" providerId="ADAL" clId="{1DBCD8F4-1092-4983-A5C8-5D8540828727}" dt="2021-07-23T14:00:57.203" v="1" actId="47"/>
        <pc:sldMkLst>
          <pc:docMk/>
          <pc:sldMk cId="3003288861" sldId="2484"/>
        </pc:sldMkLst>
      </pc:sldChg>
      <pc:sldChg chg="del">
        <pc:chgData name="Müller, Kurt (SI BP S TSS TR)" userId="e7e82c7e-80c6-42a5-ab71-24588885b7fe" providerId="ADAL" clId="{1DBCD8F4-1092-4983-A5C8-5D8540828727}" dt="2021-07-23T14:00:57.203" v="1" actId="47"/>
        <pc:sldMkLst>
          <pc:docMk/>
          <pc:sldMk cId="832594008" sldId="2485"/>
        </pc:sldMkLst>
      </pc:sldChg>
      <pc:sldChg chg="del">
        <pc:chgData name="Müller, Kurt (SI BP S TSS TR)" userId="e7e82c7e-80c6-42a5-ab71-24588885b7fe" providerId="ADAL" clId="{1DBCD8F4-1092-4983-A5C8-5D8540828727}" dt="2021-07-23T14:00:57.203" v="1" actId="47"/>
        <pc:sldMkLst>
          <pc:docMk/>
          <pc:sldMk cId="1041308441" sldId="2486"/>
        </pc:sldMkLst>
      </pc:sldChg>
      <pc:sldChg chg="del">
        <pc:chgData name="Müller, Kurt (SI BP S TSS TR)" userId="e7e82c7e-80c6-42a5-ab71-24588885b7fe" providerId="ADAL" clId="{1DBCD8F4-1092-4983-A5C8-5D8540828727}" dt="2021-07-23T14:00:57.203" v="1" actId="47"/>
        <pc:sldMkLst>
          <pc:docMk/>
          <pc:sldMk cId="0" sldId="2487"/>
        </pc:sldMkLst>
      </pc:sldChg>
      <pc:sldChg chg="del">
        <pc:chgData name="Müller, Kurt (SI BP S TSS TR)" userId="e7e82c7e-80c6-42a5-ab71-24588885b7fe" providerId="ADAL" clId="{1DBCD8F4-1092-4983-A5C8-5D8540828727}" dt="2021-07-23T14:00:57.203" v="1" actId="47"/>
        <pc:sldMkLst>
          <pc:docMk/>
          <pc:sldMk cId="0" sldId="2488"/>
        </pc:sldMkLst>
      </pc:sldChg>
      <pc:sldChg chg="del">
        <pc:chgData name="Müller, Kurt (SI BP S TSS TR)" userId="e7e82c7e-80c6-42a5-ab71-24588885b7fe" providerId="ADAL" clId="{1DBCD8F4-1092-4983-A5C8-5D8540828727}" dt="2021-07-23T14:00:57.203" v="1" actId="47"/>
        <pc:sldMkLst>
          <pc:docMk/>
          <pc:sldMk cId="0" sldId="2489"/>
        </pc:sldMkLst>
      </pc:sldChg>
      <pc:sldChg chg="del">
        <pc:chgData name="Müller, Kurt (SI BP S TSS TR)" userId="e7e82c7e-80c6-42a5-ab71-24588885b7fe" providerId="ADAL" clId="{1DBCD8F4-1092-4983-A5C8-5D8540828727}" dt="2021-07-23T14:00:57.203" v="1" actId="47"/>
        <pc:sldMkLst>
          <pc:docMk/>
          <pc:sldMk cId="0" sldId="2490"/>
        </pc:sldMkLst>
      </pc:sldChg>
      <pc:sldChg chg="del">
        <pc:chgData name="Müller, Kurt (SI BP S TSS TR)" userId="e7e82c7e-80c6-42a5-ab71-24588885b7fe" providerId="ADAL" clId="{1DBCD8F4-1092-4983-A5C8-5D8540828727}" dt="2021-07-23T14:00:57.203" v="1" actId="47"/>
        <pc:sldMkLst>
          <pc:docMk/>
          <pc:sldMk cId="0" sldId="2491"/>
        </pc:sldMkLst>
      </pc:sldChg>
      <pc:sldChg chg="del">
        <pc:chgData name="Müller, Kurt (SI BP S TSS TR)" userId="e7e82c7e-80c6-42a5-ab71-24588885b7fe" providerId="ADAL" clId="{1DBCD8F4-1092-4983-A5C8-5D8540828727}" dt="2021-07-23T14:00:57.203" v="1" actId="47"/>
        <pc:sldMkLst>
          <pc:docMk/>
          <pc:sldMk cId="0" sldId="2492"/>
        </pc:sldMkLst>
      </pc:sldChg>
      <pc:sldChg chg="del">
        <pc:chgData name="Müller, Kurt (SI BP S TSS TR)" userId="e7e82c7e-80c6-42a5-ab71-24588885b7fe" providerId="ADAL" clId="{1DBCD8F4-1092-4983-A5C8-5D8540828727}" dt="2021-07-23T14:00:57.203" v="1" actId="47"/>
        <pc:sldMkLst>
          <pc:docMk/>
          <pc:sldMk cId="0" sldId="2493"/>
        </pc:sldMkLst>
      </pc:sldChg>
      <pc:sldChg chg="del">
        <pc:chgData name="Müller, Kurt (SI BP S TSS TR)" userId="e7e82c7e-80c6-42a5-ab71-24588885b7fe" providerId="ADAL" clId="{1DBCD8F4-1092-4983-A5C8-5D8540828727}" dt="2021-07-23T14:00:43.428" v="0" actId="47"/>
        <pc:sldMkLst>
          <pc:docMk/>
          <pc:sldMk cId="4232096457" sldId="2495"/>
        </pc:sldMkLst>
      </pc:sldChg>
      <pc:sldChg chg="del">
        <pc:chgData name="Müller, Kurt (SI BP S TSS TR)" userId="e7e82c7e-80c6-42a5-ab71-24588885b7fe" providerId="ADAL" clId="{1DBCD8F4-1092-4983-A5C8-5D8540828727}" dt="2021-07-23T14:00:43.428" v="0" actId="47"/>
        <pc:sldMkLst>
          <pc:docMk/>
          <pc:sldMk cId="2404136697" sldId="2496"/>
        </pc:sldMkLst>
      </pc:sldChg>
      <pc:sldChg chg="del">
        <pc:chgData name="Müller, Kurt (SI BP S TSS TR)" userId="e7e82c7e-80c6-42a5-ab71-24588885b7fe" providerId="ADAL" clId="{1DBCD8F4-1092-4983-A5C8-5D8540828727}" dt="2021-07-23T14:00:57.203" v="1" actId="47"/>
        <pc:sldMkLst>
          <pc:docMk/>
          <pc:sldMk cId="1010149303" sldId="2500"/>
        </pc:sldMkLst>
      </pc:sldChg>
      <pc:sldChg chg="del">
        <pc:chgData name="Müller, Kurt (SI BP S TSS TR)" userId="e7e82c7e-80c6-42a5-ab71-24588885b7fe" providerId="ADAL" clId="{1DBCD8F4-1092-4983-A5C8-5D8540828727}" dt="2021-07-23T14:00:57.203" v="1" actId="47"/>
        <pc:sldMkLst>
          <pc:docMk/>
          <pc:sldMk cId="3963151481" sldId="2502"/>
        </pc:sldMkLst>
      </pc:sldChg>
      <pc:sldChg chg="del">
        <pc:chgData name="Müller, Kurt (SI BP S TSS TR)" userId="e7e82c7e-80c6-42a5-ab71-24588885b7fe" providerId="ADAL" clId="{1DBCD8F4-1092-4983-A5C8-5D8540828727}" dt="2021-07-23T14:00:43.428" v="0" actId="47"/>
        <pc:sldMkLst>
          <pc:docMk/>
          <pc:sldMk cId="4034681120" sldId="2503"/>
        </pc:sldMkLst>
      </pc:sldChg>
      <pc:sldChg chg="del">
        <pc:chgData name="Müller, Kurt (SI BP S TSS TR)" userId="e7e82c7e-80c6-42a5-ab71-24588885b7fe" providerId="ADAL" clId="{1DBCD8F4-1092-4983-A5C8-5D8540828727}" dt="2021-07-23T14:00:43.428" v="0" actId="47"/>
        <pc:sldMkLst>
          <pc:docMk/>
          <pc:sldMk cId="0" sldId="2505"/>
        </pc:sldMkLst>
      </pc:sldChg>
      <pc:sldChg chg="del">
        <pc:chgData name="Müller, Kurt (SI BP S TSS TR)" userId="e7e82c7e-80c6-42a5-ab71-24588885b7fe" providerId="ADAL" clId="{1DBCD8F4-1092-4983-A5C8-5D8540828727}" dt="2021-07-23T14:00:57.203" v="1" actId="47"/>
        <pc:sldMkLst>
          <pc:docMk/>
          <pc:sldMk cId="2453302244" sldId="2512"/>
        </pc:sldMkLst>
      </pc:sldChg>
      <pc:sldChg chg="del">
        <pc:chgData name="Müller, Kurt (SI BP S TSS TR)" userId="e7e82c7e-80c6-42a5-ab71-24588885b7fe" providerId="ADAL" clId="{1DBCD8F4-1092-4983-A5C8-5D8540828727}" dt="2021-07-23T14:00:57.203" v="1" actId="47"/>
        <pc:sldMkLst>
          <pc:docMk/>
          <pc:sldMk cId="2348171477" sldId="2513"/>
        </pc:sldMkLst>
      </pc:sldChg>
      <pc:sldChg chg="del">
        <pc:chgData name="Müller, Kurt (SI BP S TSS TR)" userId="e7e82c7e-80c6-42a5-ab71-24588885b7fe" providerId="ADAL" clId="{1DBCD8F4-1092-4983-A5C8-5D8540828727}" dt="2021-07-23T14:00:43.428" v="0" actId="47"/>
        <pc:sldMkLst>
          <pc:docMk/>
          <pc:sldMk cId="3377838418" sldId="2521"/>
        </pc:sldMkLst>
      </pc:sldChg>
      <pc:sldChg chg="del">
        <pc:chgData name="Müller, Kurt (SI BP S TSS TR)" userId="e7e82c7e-80c6-42a5-ab71-24588885b7fe" providerId="ADAL" clId="{1DBCD8F4-1092-4983-A5C8-5D8540828727}" dt="2021-07-23T14:00:43.428" v="0" actId="47"/>
        <pc:sldMkLst>
          <pc:docMk/>
          <pc:sldMk cId="130068761" sldId="2523"/>
        </pc:sldMkLst>
      </pc:sldChg>
      <pc:sldChg chg="del">
        <pc:chgData name="Müller, Kurt (SI BP S TSS TR)" userId="e7e82c7e-80c6-42a5-ab71-24588885b7fe" providerId="ADAL" clId="{1DBCD8F4-1092-4983-A5C8-5D8540828727}" dt="2021-07-23T14:00:43.428" v="0" actId="47"/>
        <pc:sldMkLst>
          <pc:docMk/>
          <pc:sldMk cId="4211098316" sldId="2527"/>
        </pc:sldMkLst>
      </pc:sldChg>
      <pc:sldChg chg="del">
        <pc:chgData name="Müller, Kurt (SI BP S TSS TR)" userId="e7e82c7e-80c6-42a5-ab71-24588885b7fe" providerId="ADAL" clId="{1DBCD8F4-1092-4983-A5C8-5D8540828727}" dt="2021-07-23T14:00:43.428" v="0" actId="47"/>
        <pc:sldMkLst>
          <pc:docMk/>
          <pc:sldMk cId="831819503" sldId="2529"/>
        </pc:sldMkLst>
      </pc:sldChg>
      <pc:sldChg chg="del">
        <pc:chgData name="Müller, Kurt (SI BP S TSS TR)" userId="e7e82c7e-80c6-42a5-ab71-24588885b7fe" providerId="ADAL" clId="{1DBCD8F4-1092-4983-A5C8-5D8540828727}" dt="2021-07-23T14:00:43.428" v="0" actId="47"/>
        <pc:sldMkLst>
          <pc:docMk/>
          <pc:sldMk cId="2692371021" sldId="2530"/>
        </pc:sldMkLst>
      </pc:sldChg>
      <pc:sldChg chg="del">
        <pc:chgData name="Müller, Kurt (SI BP S TSS TR)" userId="e7e82c7e-80c6-42a5-ab71-24588885b7fe" providerId="ADAL" clId="{1DBCD8F4-1092-4983-A5C8-5D8540828727}" dt="2021-07-23T14:00:43.428" v="0" actId="47"/>
        <pc:sldMkLst>
          <pc:docMk/>
          <pc:sldMk cId="37857769" sldId="2531"/>
        </pc:sldMkLst>
      </pc:sldChg>
      <pc:sldChg chg="del">
        <pc:chgData name="Müller, Kurt (SI BP S TSS TR)" userId="e7e82c7e-80c6-42a5-ab71-24588885b7fe" providerId="ADAL" clId="{1DBCD8F4-1092-4983-A5C8-5D8540828727}" dt="2021-07-23T14:00:57.203" v="1" actId="47"/>
        <pc:sldMkLst>
          <pc:docMk/>
          <pc:sldMk cId="1073992634" sldId="2533"/>
        </pc:sldMkLst>
      </pc:sldChg>
      <pc:sldChg chg="del">
        <pc:chgData name="Müller, Kurt (SI BP S TSS TR)" userId="e7e82c7e-80c6-42a5-ab71-24588885b7fe" providerId="ADAL" clId="{1DBCD8F4-1092-4983-A5C8-5D8540828727}" dt="2021-07-23T14:00:43.428" v="0" actId="47"/>
        <pc:sldMkLst>
          <pc:docMk/>
          <pc:sldMk cId="4101295354" sldId="2535"/>
        </pc:sldMkLst>
      </pc:sldChg>
      <pc:sldChg chg="del">
        <pc:chgData name="Müller, Kurt (SI BP S TSS TR)" userId="e7e82c7e-80c6-42a5-ab71-24588885b7fe" providerId="ADAL" clId="{1DBCD8F4-1092-4983-A5C8-5D8540828727}" dt="2021-07-23T14:00:43.428" v="0" actId="47"/>
        <pc:sldMkLst>
          <pc:docMk/>
          <pc:sldMk cId="755539901" sldId="2537"/>
        </pc:sldMkLst>
      </pc:sldChg>
      <pc:sldChg chg="del">
        <pc:chgData name="Müller, Kurt (SI BP S TSS TR)" userId="e7e82c7e-80c6-42a5-ab71-24588885b7fe" providerId="ADAL" clId="{1DBCD8F4-1092-4983-A5C8-5D8540828727}" dt="2021-07-23T14:00:43.428" v="0" actId="47"/>
        <pc:sldMkLst>
          <pc:docMk/>
          <pc:sldMk cId="979859103" sldId="2539"/>
        </pc:sldMkLst>
      </pc:sldChg>
      <pc:sldChg chg="del">
        <pc:chgData name="Müller, Kurt (SI BP S TSS TR)" userId="e7e82c7e-80c6-42a5-ab71-24588885b7fe" providerId="ADAL" clId="{1DBCD8F4-1092-4983-A5C8-5D8540828727}" dt="2021-07-23T14:00:43.428" v="0" actId="47"/>
        <pc:sldMkLst>
          <pc:docMk/>
          <pc:sldMk cId="3076480418" sldId="2541"/>
        </pc:sldMkLst>
      </pc:sldChg>
      <pc:sldChg chg="del">
        <pc:chgData name="Müller, Kurt (SI BP S TSS TR)" userId="e7e82c7e-80c6-42a5-ab71-24588885b7fe" providerId="ADAL" clId="{1DBCD8F4-1092-4983-A5C8-5D8540828727}" dt="2021-07-23T14:00:43.428" v="0" actId="47"/>
        <pc:sldMkLst>
          <pc:docMk/>
          <pc:sldMk cId="543068732" sldId="2542"/>
        </pc:sldMkLst>
      </pc:sldChg>
      <pc:sldChg chg="del">
        <pc:chgData name="Müller, Kurt (SI BP S TSS TR)" userId="e7e82c7e-80c6-42a5-ab71-24588885b7fe" providerId="ADAL" clId="{1DBCD8F4-1092-4983-A5C8-5D8540828727}" dt="2021-07-23T14:00:43.428" v="0" actId="47"/>
        <pc:sldMkLst>
          <pc:docMk/>
          <pc:sldMk cId="3666614304" sldId="2543"/>
        </pc:sldMkLst>
      </pc:sldChg>
      <pc:sldChg chg="del">
        <pc:chgData name="Müller, Kurt (SI BP S TSS TR)" userId="e7e82c7e-80c6-42a5-ab71-24588885b7fe" providerId="ADAL" clId="{1DBCD8F4-1092-4983-A5C8-5D8540828727}" dt="2021-07-23T14:00:43.428" v="0" actId="47"/>
        <pc:sldMkLst>
          <pc:docMk/>
          <pc:sldMk cId="745418582" sldId="2546"/>
        </pc:sldMkLst>
      </pc:sldChg>
      <pc:sldChg chg="del">
        <pc:chgData name="Müller, Kurt (SI BP S TSS TR)" userId="e7e82c7e-80c6-42a5-ab71-24588885b7fe" providerId="ADAL" clId="{1DBCD8F4-1092-4983-A5C8-5D8540828727}" dt="2021-07-23T14:00:43.428" v="0" actId="47"/>
        <pc:sldMkLst>
          <pc:docMk/>
          <pc:sldMk cId="3552608511" sldId="2549"/>
        </pc:sldMkLst>
      </pc:sldChg>
      <pc:sldChg chg="del">
        <pc:chgData name="Müller, Kurt (SI BP S TSS TR)" userId="e7e82c7e-80c6-42a5-ab71-24588885b7fe" providerId="ADAL" clId="{1DBCD8F4-1092-4983-A5C8-5D8540828727}" dt="2021-07-23T14:00:43.428" v="0" actId="47"/>
        <pc:sldMkLst>
          <pc:docMk/>
          <pc:sldMk cId="1468895470" sldId="2552"/>
        </pc:sldMkLst>
      </pc:sldChg>
      <pc:sldChg chg="del">
        <pc:chgData name="Müller, Kurt (SI BP S TSS TR)" userId="e7e82c7e-80c6-42a5-ab71-24588885b7fe" providerId="ADAL" clId="{1DBCD8F4-1092-4983-A5C8-5D8540828727}" dt="2021-07-23T14:00:43.428" v="0" actId="47"/>
        <pc:sldMkLst>
          <pc:docMk/>
          <pc:sldMk cId="1930808989" sldId="2553"/>
        </pc:sldMkLst>
      </pc:sldChg>
      <pc:sldChg chg="del">
        <pc:chgData name="Müller, Kurt (SI BP S TSS TR)" userId="e7e82c7e-80c6-42a5-ab71-24588885b7fe" providerId="ADAL" clId="{1DBCD8F4-1092-4983-A5C8-5D8540828727}" dt="2021-07-23T14:00:43.428" v="0" actId="47"/>
        <pc:sldMkLst>
          <pc:docMk/>
          <pc:sldMk cId="3395677285" sldId="2555"/>
        </pc:sldMkLst>
      </pc:sldChg>
      <pc:sldChg chg="del">
        <pc:chgData name="Müller, Kurt (SI BP S TSS TR)" userId="e7e82c7e-80c6-42a5-ab71-24588885b7fe" providerId="ADAL" clId="{1DBCD8F4-1092-4983-A5C8-5D8540828727}" dt="2021-07-23T14:00:57.203" v="1" actId="47"/>
        <pc:sldMkLst>
          <pc:docMk/>
          <pc:sldMk cId="1320844567" sldId="2556"/>
        </pc:sldMkLst>
      </pc:sldChg>
      <pc:sldChg chg="del">
        <pc:chgData name="Müller, Kurt (SI BP S TSS TR)" userId="e7e82c7e-80c6-42a5-ab71-24588885b7fe" providerId="ADAL" clId="{1DBCD8F4-1092-4983-A5C8-5D8540828727}" dt="2021-07-23T14:00:43.428" v="0" actId="47"/>
        <pc:sldMkLst>
          <pc:docMk/>
          <pc:sldMk cId="500407796" sldId="2557"/>
        </pc:sldMkLst>
      </pc:sldChg>
      <pc:sldChg chg="del">
        <pc:chgData name="Müller, Kurt (SI BP S TSS TR)" userId="e7e82c7e-80c6-42a5-ab71-24588885b7fe" providerId="ADAL" clId="{1DBCD8F4-1092-4983-A5C8-5D8540828727}" dt="2021-07-23T14:00:43.428" v="0" actId="47"/>
        <pc:sldMkLst>
          <pc:docMk/>
          <pc:sldMk cId="4271857" sldId="2558"/>
        </pc:sldMkLst>
      </pc:sldChg>
      <pc:sldChg chg="del">
        <pc:chgData name="Müller, Kurt (SI BP S TSS TR)" userId="e7e82c7e-80c6-42a5-ab71-24588885b7fe" providerId="ADAL" clId="{1DBCD8F4-1092-4983-A5C8-5D8540828727}" dt="2021-07-23T14:00:43.428" v="0" actId="47"/>
        <pc:sldMkLst>
          <pc:docMk/>
          <pc:sldMk cId="3122760018" sldId="2559"/>
        </pc:sldMkLst>
      </pc:sldChg>
      <pc:sldChg chg="del">
        <pc:chgData name="Müller, Kurt (SI BP S TSS TR)" userId="e7e82c7e-80c6-42a5-ab71-24588885b7fe" providerId="ADAL" clId="{1DBCD8F4-1092-4983-A5C8-5D8540828727}" dt="2021-07-23T14:00:43.428" v="0" actId="47"/>
        <pc:sldMkLst>
          <pc:docMk/>
          <pc:sldMk cId="1480321109" sldId="2560"/>
        </pc:sldMkLst>
      </pc:sldChg>
      <pc:sldChg chg="del">
        <pc:chgData name="Müller, Kurt (SI BP S TSS TR)" userId="e7e82c7e-80c6-42a5-ab71-24588885b7fe" providerId="ADAL" clId="{1DBCD8F4-1092-4983-A5C8-5D8540828727}" dt="2021-07-23T14:00:57.203" v="1" actId="47"/>
        <pc:sldMkLst>
          <pc:docMk/>
          <pc:sldMk cId="4241341556" sldId="2561"/>
        </pc:sldMkLst>
      </pc:sldChg>
      <pc:sldChg chg="del">
        <pc:chgData name="Müller, Kurt (SI BP S TSS TR)" userId="e7e82c7e-80c6-42a5-ab71-24588885b7fe" providerId="ADAL" clId="{1DBCD8F4-1092-4983-A5C8-5D8540828727}" dt="2021-07-23T14:00:43.428" v="0" actId="47"/>
        <pc:sldMkLst>
          <pc:docMk/>
          <pc:sldMk cId="4214621097" sldId="2563"/>
        </pc:sldMkLst>
      </pc:sldChg>
      <pc:sldChg chg="del">
        <pc:chgData name="Müller, Kurt (SI BP S TSS TR)" userId="e7e82c7e-80c6-42a5-ab71-24588885b7fe" providerId="ADAL" clId="{1DBCD8F4-1092-4983-A5C8-5D8540828727}" dt="2021-07-23T14:00:43.428" v="0" actId="47"/>
        <pc:sldMkLst>
          <pc:docMk/>
          <pc:sldMk cId="1465483980" sldId="2564"/>
        </pc:sldMkLst>
      </pc:sldChg>
      <pc:sldChg chg="del">
        <pc:chgData name="Müller, Kurt (SI BP S TSS TR)" userId="e7e82c7e-80c6-42a5-ab71-24588885b7fe" providerId="ADAL" clId="{1DBCD8F4-1092-4983-A5C8-5D8540828727}" dt="2021-07-23T14:00:43.428" v="0" actId="47"/>
        <pc:sldMkLst>
          <pc:docMk/>
          <pc:sldMk cId="1794987599" sldId="2565"/>
        </pc:sldMkLst>
      </pc:sldChg>
      <pc:sldChg chg="del">
        <pc:chgData name="Müller, Kurt (SI BP S TSS TR)" userId="e7e82c7e-80c6-42a5-ab71-24588885b7fe" providerId="ADAL" clId="{1DBCD8F4-1092-4983-A5C8-5D8540828727}" dt="2021-07-23T14:00:43.428" v="0" actId="47"/>
        <pc:sldMkLst>
          <pc:docMk/>
          <pc:sldMk cId="3026962512" sldId="2566"/>
        </pc:sldMkLst>
      </pc:sldChg>
      <pc:sldChg chg="del">
        <pc:chgData name="Müller, Kurt (SI BP S TSS TR)" userId="e7e82c7e-80c6-42a5-ab71-24588885b7fe" providerId="ADAL" clId="{1DBCD8F4-1092-4983-A5C8-5D8540828727}" dt="2021-07-23T14:00:57.203" v="1" actId="47"/>
        <pc:sldMkLst>
          <pc:docMk/>
          <pc:sldMk cId="2815062650" sldId="2567"/>
        </pc:sldMkLst>
      </pc:sldChg>
      <pc:sldChg chg="del">
        <pc:chgData name="Müller, Kurt (SI BP S TSS TR)" userId="e7e82c7e-80c6-42a5-ab71-24588885b7fe" providerId="ADAL" clId="{1DBCD8F4-1092-4983-A5C8-5D8540828727}" dt="2021-07-23T14:00:43.428" v="0" actId="47"/>
        <pc:sldMkLst>
          <pc:docMk/>
          <pc:sldMk cId="1162615204" sldId="2568"/>
        </pc:sldMkLst>
      </pc:sldChg>
      <pc:sldChg chg="del">
        <pc:chgData name="Müller, Kurt (SI BP S TSS TR)" userId="e7e82c7e-80c6-42a5-ab71-24588885b7fe" providerId="ADAL" clId="{1DBCD8F4-1092-4983-A5C8-5D8540828727}" dt="2021-07-23T14:00:43.428" v="0" actId="47"/>
        <pc:sldMkLst>
          <pc:docMk/>
          <pc:sldMk cId="2878704115" sldId="2569"/>
        </pc:sldMkLst>
      </pc:sldChg>
      <pc:sldChg chg="del">
        <pc:chgData name="Müller, Kurt (SI BP S TSS TR)" userId="e7e82c7e-80c6-42a5-ab71-24588885b7fe" providerId="ADAL" clId="{1DBCD8F4-1092-4983-A5C8-5D8540828727}" dt="2021-07-23T14:00:57.203" v="1" actId="47"/>
        <pc:sldMkLst>
          <pc:docMk/>
          <pc:sldMk cId="3203205302" sldId="2570"/>
        </pc:sldMkLst>
      </pc:sldChg>
      <pc:sldChg chg="del">
        <pc:chgData name="Müller, Kurt (SI BP S TSS TR)" userId="e7e82c7e-80c6-42a5-ab71-24588885b7fe" providerId="ADAL" clId="{1DBCD8F4-1092-4983-A5C8-5D8540828727}" dt="2021-07-23T14:00:43.428" v="0" actId="47"/>
        <pc:sldMkLst>
          <pc:docMk/>
          <pc:sldMk cId="1683107026" sldId="2571"/>
        </pc:sldMkLst>
      </pc:sldChg>
      <pc:sldChg chg="del">
        <pc:chgData name="Müller, Kurt (SI BP S TSS TR)" userId="e7e82c7e-80c6-42a5-ab71-24588885b7fe" providerId="ADAL" clId="{1DBCD8F4-1092-4983-A5C8-5D8540828727}" dt="2021-07-23T14:00:43.428" v="0" actId="47"/>
        <pc:sldMkLst>
          <pc:docMk/>
          <pc:sldMk cId="1295286918" sldId="2572"/>
        </pc:sldMkLst>
      </pc:sldChg>
      <pc:sldChg chg="del">
        <pc:chgData name="Müller, Kurt (SI BP S TSS TR)" userId="e7e82c7e-80c6-42a5-ab71-24588885b7fe" providerId="ADAL" clId="{1DBCD8F4-1092-4983-A5C8-5D8540828727}" dt="2021-07-23T14:00:57.203" v="1" actId="47"/>
        <pc:sldMkLst>
          <pc:docMk/>
          <pc:sldMk cId="710196458" sldId="2573"/>
        </pc:sldMkLst>
      </pc:sldChg>
      <pc:sldChg chg="del">
        <pc:chgData name="Müller, Kurt (SI BP S TSS TR)" userId="e7e82c7e-80c6-42a5-ab71-24588885b7fe" providerId="ADAL" clId="{1DBCD8F4-1092-4983-A5C8-5D8540828727}" dt="2021-07-23T14:00:43.428" v="0" actId="47"/>
        <pc:sldMkLst>
          <pc:docMk/>
          <pc:sldMk cId="740471923" sldId="2575"/>
        </pc:sldMkLst>
      </pc:sldChg>
      <pc:sldChg chg="del">
        <pc:chgData name="Müller, Kurt (SI BP S TSS TR)" userId="e7e82c7e-80c6-42a5-ab71-24588885b7fe" providerId="ADAL" clId="{1DBCD8F4-1092-4983-A5C8-5D8540828727}" dt="2021-07-23T14:00:43.428" v="0" actId="47"/>
        <pc:sldMkLst>
          <pc:docMk/>
          <pc:sldMk cId="1590403809" sldId="2577"/>
        </pc:sldMkLst>
      </pc:sldChg>
      <pc:sldChg chg="del">
        <pc:chgData name="Müller, Kurt (SI BP S TSS TR)" userId="e7e82c7e-80c6-42a5-ab71-24588885b7fe" providerId="ADAL" clId="{1DBCD8F4-1092-4983-A5C8-5D8540828727}" dt="2021-07-23T14:00:43.428" v="0" actId="47"/>
        <pc:sldMkLst>
          <pc:docMk/>
          <pc:sldMk cId="3458297983" sldId="2578"/>
        </pc:sldMkLst>
      </pc:sldChg>
      <pc:sldChg chg="modSp mod">
        <pc:chgData name="Müller, Kurt (SI BP S TSS TR)" userId="e7e82c7e-80c6-42a5-ab71-24588885b7fe" providerId="ADAL" clId="{1DBCD8F4-1092-4983-A5C8-5D8540828727}" dt="2021-09-27T15:35:29.128" v="125" actId="113"/>
        <pc:sldMkLst>
          <pc:docMk/>
          <pc:sldMk cId="1402478112" sldId="2583"/>
        </pc:sldMkLst>
        <pc:spChg chg="mod">
          <ac:chgData name="Müller, Kurt (SI BP S TSS TR)" userId="e7e82c7e-80c6-42a5-ab71-24588885b7fe" providerId="ADAL" clId="{1DBCD8F4-1092-4983-A5C8-5D8540828727}" dt="2021-09-27T15:35:29.128" v="125" actId="113"/>
          <ac:spMkLst>
            <pc:docMk/>
            <pc:sldMk cId="1402478112" sldId="2583"/>
            <ac:spMk id="7" creationId="{ACAB2C52-5885-4E21-B99C-8FB0774DE9B6}"/>
          </ac:spMkLst>
        </pc:spChg>
      </pc:sldChg>
      <pc:sldChg chg="addSp modSp add mod">
        <pc:chgData name="Müller, Kurt (SI BP S TSS TR)" userId="e7e82c7e-80c6-42a5-ab71-24588885b7fe" providerId="ADAL" clId="{1DBCD8F4-1092-4983-A5C8-5D8540828727}" dt="2021-09-07T14:29:33.744" v="36" actId="1076"/>
        <pc:sldMkLst>
          <pc:docMk/>
          <pc:sldMk cId="1645637749" sldId="2589"/>
        </pc:sldMkLst>
        <pc:spChg chg="add mod">
          <ac:chgData name="Müller, Kurt (SI BP S TSS TR)" userId="e7e82c7e-80c6-42a5-ab71-24588885b7fe" providerId="ADAL" clId="{1DBCD8F4-1092-4983-A5C8-5D8540828727}" dt="2021-09-07T14:28:27.780" v="29" actId="1076"/>
          <ac:spMkLst>
            <pc:docMk/>
            <pc:sldMk cId="1645637749" sldId="2589"/>
            <ac:spMk id="71" creationId="{DED55080-2A03-4EA4-9C0A-CAAA478FF5D4}"/>
          </ac:spMkLst>
        </pc:spChg>
        <pc:spChg chg="mod">
          <ac:chgData name="Müller, Kurt (SI BP S TSS TR)" userId="e7e82c7e-80c6-42a5-ab71-24588885b7fe" providerId="ADAL" clId="{1DBCD8F4-1092-4983-A5C8-5D8540828727}" dt="2021-09-07T14:29:30.608" v="35" actId="1076"/>
          <ac:spMkLst>
            <pc:docMk/>
            <pc:sldMk cId="1645637749" sldId="2589"/>
            <ac:spMk id="129" creationId="{EEBFC678-4642-4482-A5E4-15B4F919CC01}"/>
          </ac:spMkLst>
        </pc:spChg>
        <pc:spChg chg="mod">
          <ac:chgData name="Müller, Kurt (SI BP S TSS TR)" userId="e7e82c7e-80c6-42a5-ab71-24588885b7fe" providerId="ADAL" clId="{1DBCD8F4-1092-4983-A5C8-5D8540828727}" dt="2021-09-07T14:27:48.684" v="14" actId="20577"/>
          <ac:spMkLst>
            <pc:docMk/>
            <pc:sldMk cId="1645637749" sldId="2589"/>
            <ac:spMk id="137" creationId="{AFD8D3F5-9AAB-4277-8709-FA19C8C39AC1}"/>
          </ac:spMkLst>
        </pc:spChg>
        <pc:spChg chg="mod">
          <ac:chgData name="Müller, Kurt (SI BP S TSS TR)" userId="e7e82c7e-80c6-42a5-ab71-24588885b7fe" providerId="ADAL" clId="{1DBCD8F4-1092-4983-A5C8-5D8540828727}" dt="2021-09-07T14:28:00.542" v="22" actId="20577"/>
          <ac:spMkLst>
            <pc:docMk/>
            <pc:sldMk cId="1645637749" sldId="2589"/>
            <ac:spMk id="138" creationId="{80CCCC6D-1ED5-40F1-92A1-A26C60CBD12D}"/>
          </ac:spMkLst>
        </pc:spChg>
        <pc:spChg chg="mod">
          <ac:chgData name="Müller, Kurt (SI BP S TSS TR)" userId="e7e82c7e-80c6-42a5-ab71-24588885b7fe" providerId="ADAL" clId="{1DBCD8F4-1092-4983-A5C8-5D8540828727}" dt="2021-09-07T14:29:33.744" v="36" actId="1076"/>
          <ac:spMkLst>
            <pc:docMk/>
            <pc:sldMk cId="1645637749" sldId="2589"/>
            <ac:spMk id="273" creationId="{DBCE9F3F-0485-4094-AD9D-31B03C4A0045}"/>
          </ac:spMkLst>
        </pc:spChg>
        <pc:cxnChg chg="mod">
          <ac:chgData name="Müller, Kurt (SI BP S TSS TR)" userId="e7e82c7e-80c6-42a5-ab71-24588885b7fe" providerId="ADAL" clId="{1DBCD8F4-1092-4983-A5C8-5D8540828727}" dt="2021-09-07T14:29:30.608" v="35" actId="1076"/>
          <ac:cxnSpMkLst>
            <pc:docMk/>
            <pc:sldMk cId="1645637749" sldId="2589"/>
            <ac:cxnSpMk id="131" creationId="{8D5EEAE2-FF34-41E1-891F-552DFA00C85E}"/>
          </ac:cxnSpMkLst>
        </pc:cxnChg>
        <pc:cxnChg chg="mod">
          <ac:chgData name="Müller, Kurt (SI BP S TSS TR)" userId="e7e82c7e-80c6-42a5-ab71-24588885b7fe" providerId="ADAL" clId="{1DBCD8F4-1092-4983-A5C8-5D8540828727}" dt="2021-09-07T14:29:00.662" v="30" actId="14100"/>
          <ac:cxnSpMkLst>
            <pc:docMk/>
            <pc:sldMk cId="1645637749" sldId="2589"/>
            <ac:cxnSpMk id="165" creationId="{1F45ED20-E096-493E-9D0F-779043EDFCA7}"/>
          </ac:cxnSpMkLst>
        </pc:cxnChg>
        <pc:cxnChg chg="mod">
          <ac:chgData name="Müller, Kurt (SI BP S TSS TR)" userId="e7e82c7e-80c6-42a5-ab71-24588885b7fe" providerId="ADAL" clId="{1DBCD8F4-1092-4983-A5C8-5D8540828727}" dt="2021-09-07T14:29:10.007" v="33" actId="14100"/>
          <ac:cxnSpMkLst>
            <pc:docMk/>
            <pc:sldMk cId="1645637749" sldId="2589"/>
            <ac:cxnSpMk id="168" creationId="{93B3406C-91EB-45F5-B154-11DDA4E55F5E}"/>
          </ac:cxnSpMkLst>
        </pc:cxnChg>
        <pc:cxnChg chg="mod">
          <ac:chgData name="Müller, Kurt (SI BP S TSS TR)" userId="e7e82c7e-80c6-42a5-ab71-24588885b7fe" providerId="ADAL" clId="{1DBCD8F4-1092-4983-A5C8-5D8540828727}" dt="2021-09-07T14:29:12.822" v="34" actId="14100"/>
          <ac:cxnSpMkLst>
            <pc:docMk/>
            <pc:sldMk cId="1645637749" sldId="2589"/>
            <ac:cxnSpMk id="169" creationId="{75EF1636-16D8-4767-ACFE-A1710990DF42}"/>
          </ac:cxnSpMkLst>
        </pc:cxnChg>
        <pc:cxnChg chg="mod">
          <ac:chgData name="Müller, Kurt (SI BP S TSS TR)" userId="e7e82c7e-80c6-42a5-ab71-24588885b7fe" providerId="ADAL" clId="{1DBCD8F4-1092-4983-A5C8-5D8540828727}" dt="2021-09-07T14:29:03.590" v="31" actId="14100"/>
          <ac:cxnSpMkLst>
            <pc:docMk/>
            <pc:sldMk cId="1645637749" sldId="2589"/>
            <ac:cxnSpMk id="1041" creationId="{AA79F5A4-5718-4431-91A5-C5C964C25856}"/>
          </ac:cxnSpMkLst>
        </pc:cxnChg>
      </pc:sldChg>
      <pc:sldChg chg="del">
        <pc:chgData name="Müller, Kurt (SI BP S TSS TR)" userId="e7e82c7e-80c6-42a5-ab71-24588885b7fe" providerId="ADAL" clId="{1DBCD8F4-1092-4983-A5C8-5D8540828727}" dt="2021-07-23T14:00:43.428" v="0" actId="47"/>
        <pc:sldMkLst>
          <pc:docMk/>
          <pc:sldMk cId="2805445751" sldId="2589"/>
        </pc:sldMkLst>
      </pc:sldChg>
      <pc:sldMasterChg chg="delSldLayout">
        <pc:chgData name="Müller, Kurt (SI BP S TSS TR)" userId="e7e82c7e-80c6-42a5-ab71-24588885b7fe" providerId="ADAL" clId="{1DBCD8F4-1092-4983-A5C8-5D8540828727}" dt="2021-07-23T14:00:57.203" v="1" actId="47"/>
        <pc:sldMasterMkLst>
          <pc:docMk/>
          <pc:sldMasterMk cId="0" sldId="2147483669"/>
        </pc:sldMasterMkLst>
        <pc:sldLayoutChg chg="del">
          <pc:chgData name="Müller, Kurt (SI BP S TSS TR)" userId="e7e82c7e-80c6-42a5-ab71-24588885b7fe" providerId="ADAL" clId="{1DBCD8F4-1092-4983-A5C8-5D8540828727}" dt="2021-07-23T14:00:57.203" v="1" actId="47"/>
          <pc:sldLayoutMkLst>
            <pc:docMk/>
            <pc:sldMasterMk cId="0" sldId="2147483669"/>
            <pc:sldLayoutMk cId="2472471974" sldId="2147483696"/>
          </pc:sldLayoutMkLst>
        </pc:sldLayoutChg>
        <pc:sldLayoutChg chg="del">
          <pc:chgData name="Müller, Kurt (SI BP S TSS TR)" userId="e7e82c7e-80c6-42a5-ab71-24588885b7fe" providerId="ADAL" clId="{1DBCD8F4-1092-4983-A5C8-5D8540828727}" dt="2021-07-23T14:00:43.428" v="0" actId="47"/>
          <pc:sldLayoutMkLst>
            <pc:docMk/>
            <pc:sldMasterMk cId="0" sldId="2147483669"/>
            <pc:sldLayoutMk cId="1461486420" sldId="2147483698"/>
          </pc:sldLayoutMkLst>
        </pc:sldLayoutChg>
        <pc:sldLayoutChg chg="del">
          <pc:chgData name="Müller, Kurt (SI BP S TSS TR)" userId="e7e82c7e-80c6-42a5-ab71-24588885b7fe" providerId="ADAL" clId="{1DBCD8F4-1092-4983-A5C8-5D8540828727}" dt="2021-07-23T14:00:57.203" v="1" actId="47"/>
          <pc:sldLayoutMkLst>
            <pc:docMk/>
            <pc:sldMasterMk cId="0" sldId="2147483669"/>
            <pc:sldLayoutMk cId="3315154819" sldId="2147483700"/>
          </pc:sldLayoutMkLst>
        </pc:sldLayoutChg>
        <pc:sldLayoutChg chg="del">
          <pc:chgData name="Müller, Kurt (SI BP S TSS TR)" userId="e7e82c7e-80c6-42a5-ab71-24588885b7fe" providerId="ADAL" clId="{1DBCD8F4-1092-4983-A5C8-5D8540828727}" dt="2021-07-23T14:00:57.203" v="1" actId="47"/>
          <pc:sldLayoutMkLst>
            <pc:docMk/>
            <pc:sldMasterMk cId="0" sldId="2147483669"/>
            <pc:sldLayoutMk cId="957075249" sldId="2147483701"/>
          </pc:sldLayoutMkLst>
        </pc:sldLayoutChg>
        <pc:sldLayoutChg chg="del">
          <pc:chgData name="Müller, Kurt (SI BP S TSS TR)" userId="e7e82c7e-80c6-42a5-ab71-24588885b7fe" providerId="ADAL" clId="{1DBCD8F4-1092-4983-A5C8-5D8540828727}" dt="2021-07-23T14:00:43.428" v="0" actId="47"/>
          <pc:sldLayoutMkLst>
            <pc:docMk/>
            <pc:sldMasterMk cId="0" sldId="2147483669"/>
            <pc:sldLayoutMk cId="421941292" sldId="2147483702"/>
          </pc:sldLayoutMkLst>
        </pc:sldLayoutChg>
      </pc:sldMasterChg>
    </pc:docChg>
  </pc:docChgLst>
  <pc:docChgLst>
    <pc:chgData name="Gao, Tianyun (SI BP AUT EA PROD)" userId="25b3c3cc-5a46-4d03-a516-a1293833cff3" providerId="ADAL" clId="{827F7300-70D8-4B8E-8059-E0A9D709BD6E}"/>
    <pc:docChg chg="undo redo custSel addSld delSld modSld sldOrd">
      <pc:chgData name="Gao, Tianyun (SI BP AUT EA PROD)" userId="25b3c3cc-5a46-4d03-a516-a1293833cff3" providerId="ADAL" clId="{827F7300-70D8-4B8E-8059-E0A9D709BD6E}" dt="2021-10-18T13:30:03.187" v="6225" actId="20577"/>
      <pc:docMkLst>
        <pc:docMk/>
      </pc:docMkLst>
      <pc:sldChg chg="addSp modSp mod">
        <pc:chgData name="Gao, Tianyun (SI BP AUT EA PROD)" userId="25b3c3cc-5a46-4d03-a516-a1293833cff3" providerId="ADAL" clId="{827F7300-70D8-4B8E-8059-E0A9D709BD6E}" dt="2021-09-17T08:00:02.719" v="390" actId="20577"/>
        <pc:sldMkLst>
          <pc:docMk/>
          <pc:sldMk cId="3220879553" sldId="509"/>
        </pc:sldMkLst>
        <pc:spChg chg="add mod">
          <ac:chgData name="Gao, Tianyun (SI BP AUT EA PROD)" userId="25b3c3cc-5a46-4d03-a516-a1293833cff3" providerId="ADAL" clId="{827F7300-70D8-4B8E-8059-E0A9D709BD6E}" dt="2021-09-17T08:00:02.719" v="390" actId="20577"/>
          <ac:spMkLst>
            <pc:docMk/>
            <pc:sldMk cId="3220879553" sldId="509"/>
            <ac:spMk id="11" creationId="{EF067F3A-F0C1-4E60-974D-8AF14765AB51}"/>
          </ac:spMkLst>
        </pc:spChg>
      </pc:sldChg>
      <pc:sldChg chg="addSp modSp mod">
        <pc:chgData name="Gao, Tianyun (SI BP AUT EA PROD)" userId="25b3c3cc-5a46-4d03-a516-a1293833cff3" providerId="ADAL" clId="{827F7300-70D8-4B8E-8059-E0A9D709BD6E}" dt="2021-09-17T08:01:29.580" v="403" actId="20577"/>
        <pc:sldMkLst>
          <pc:docMk/>
          <pc:sldMk cId="2351967476" sldId="512"/>
        </pc:sldMkLst>
        <pc:spChg chg="add mod">
          <ac:chgData name="Gao, Tianyun (SI BP AUT EA PROD)" userId="25b3c3cc-5a46-4d03-a516-a1293833cff3" providerId="ADAL" clId="{827F7300-70D8-4B8E-8059-E0A9D709BD6E}" dt="2021-09-17T08:01:29.580" v="403" actId="20577"/>
          <ac:spMkLst>
            <pc:docMk/>
            <pc:sldMk cId="2351967476" sldId="512"/>
            <ac:spMk id="39" creationId="{EC3C7D86-84E6-40DA-A377-F2B980C59670}"/>
          </ac:spMkLst>
        </pc:spChg>
      </pc:sldChg>
      <pc:sldChg chg="addSp delSp modSp mod ord">
        <pc:chgData name="Gao, Tianyun (SI BP AUT EA PROD)" userId="25b3c3cc-5a46-4d03-a516-a1293833cff3" providerId="ADAL" clId="{827F7300-70D8-4B8E-8059-E0A9D709BD6E}" dt="2021-10-04T20:40:02.066" v="4218" actId="1076"/>
        <pc:sldMkLst>
          <pc:docMk/>
          <pc:sldMk cId="3635193786" sldId="967"/>
        </pc:sldMkLst>
        <pc:spChg chg="mod">
          <ac:chgData name="Gao, Tianyun (SI BP AUT EA PROD)" userId="25b3c3cc-5a46-4d03-a516-a1293833cff3" providerId="ADAL" clId="{827F7300-70D8-4B8E-8059-E0A9D709BD6E}" dt="2021-09-21T08:51:06.647" v="1760" actId="20577"/>
          <ac:spMkLst>
            <pc:docMk/>
            <pc:sldMk cId="3635193786" sldId="967"/>
            <ac:spMk id="3" creationId="{50E17820-B62F-4719-80D9-FEC26EF1D72C}"/>
          </ac:spMkLst>
        </pc:spChg>
        <pc:spChg chg="mod">
          <ac:chgData name="Gao, Tianyun (SI BP AUT EA PROD)" userId="25b3c3cc-5a46-4d03-a516-a1293833cff3" providerId="ADAL" clId="{827F7300-70D8-4B8E-8059-E0A9D709BD6E}" dt="2021-10-04T20:40:02.066" v="4218" actId="1076"/>
          <ac:spMkLst>
            <pc:docMk/>
            <pc:sldMk cId="3635193786" sldId="967"/>
            <ac:spMk id="4" creationId="{3FC5BB77-2292-44E0-840E-B71FD1E2D5FE}"/>
          </ac:spMkLst>
        </pc:spChg>
        <pc:spChg chg="mod">
          <ac:chgData name="Gao, Tianyun (SI BP AUT EA PROD)" userId="25b3c3cc-5a46-4d03-a516-a1293833cff3" providerId="ADAL" clId="{827F7300-70D8-4B8E-8059-E0A9D709BD6E}" dt="2021-10-04T20:40:02.066" v="4218" actId="1076"/>
          <ac:spMkLst>
            <pc:docMk/>
            <pc:sldMk cId="3635193786" sldId="967"/>
            <ac:spMk id="5" creationId="{86B3B369-DA5D-4EF1-A634-946EE29B2D70}"/>
          </ac:spMkLst>
        </pc:spChg>
        <pc:spChg chg="mod">
          <ac:chgData name="Gao, Tianyun (SI BP AUT EA PROD)" userId="25b3c3cc-5a46-4d03-a516-a1293833cff3" providerId="ADAL" clId="{827F7300-70D8-4B8E-8059-E0A9D709BD6E}" dt="2021-10-04T20:40:02.066" v="4218" actId="1076"/>
          <ac:spMkLst>
            <pc:docMk/>
            <pc:sldMk cId="3635193786" sldId="967"/>
            <ac:spMk id="17" creationId="{7D34A297-BAC5-4AF3-93E1-7530E6A16080}"/>
          </ac:spMkLst>
        </pc:spChg>
        <pc:spChg chg="mod">
          <ac:chgData name="Gao, Tianyun (SI BP AUT EA PROD)" userId="25b3c3cc-5a46-4d03-a516-a1293833cff3" providerId="ADAL" clId="{827F7300-70D8-4B8E-8059-E0A9D709BD6E}" dt="2021-10-04T20:40:02.066" v="4218" actId="1076"/>
          <ac:spMkLst>
            <pc:docMk/>
            <pc:sldMk cId="3635193786" sldId="967"/>
            <ac:spMk id="18" creationId="{5CC1D7EE-92EB-4EE8-BA93-E8782CAE39F4}"/>
          </ac:spMkLst>
        </pc:spChg>
        <pc:spChg chg="add del mod">
          <ac:chgData name="Gao, Tianyun (SI BP AUT EA PROD)" userId="25b3c3cc-5a46-4d03-a516-a1293833cff3" providerId="ADAL" clId="{827F7300-70D8-4B8E-8059-E0A9D709BD6E}" dt="2021-10-04T20:39:45.528" v="4217" actId="478"/>
          <ac:spMkLst>
            <pc:docMk/>
            <pc:sldMk cId="3635193786" sldId="967"/>
            <ac:spMk id="19" creationId="{5D63C901-E23D-44B5-A8E0-58F58C4AEA44}"/>
          </ac:spMkLst>
        </pc:spChg>
        <pc:spChg chg="mod">
          <ac:chgData name="Gao, Tianyun (SI BP AUT EA PROD)" userId="25b3c3cc-5a46-4d03-a516-a1293833cff3" providerId="ADAL" clId="{827F7300-70D8-4B8E-8059-E0A9D709BD6E}" dt="2021-10-04T20:40:02.066" v="4218" actId="1076"/>
          <ac:spMkLst>
            <pc:docMk/>
            <pc:sldMk cId="3635193786" sldId="967"/>
            <ac:spMk id="20" creationId="{063AD231-0325-42C6-9385-EB84A609620C}"/>
          </ac:spMkLst>
        </pc:spChg>
        <pc:spChg chg="add del mod">
          <ac:chgData name="Gao, Tianyun (SI BP AUT EA PROD)" userId="25b3c3cc-5a46-4d03-a516-a1293833cff3" providerId="ADAL" clId="{827F7300-70D8-4B8E-8059-E0A9D709BD6E}" dt="2021-09-21T08:20:19.847" v="1166" actId="478"/>
          <ac:spMkLst>
            <pc:docMk/>
            <pc:sldMk cId="3635193786" sldId="967"/>
            <ac:spMk id="21" creationId="{D87AF7A1-6B8C-4500-B549-C89034618B2D}"/>
          </ac:spMkLst>
        </pc:spChg>
        <pc:spChg chg="add mod">
          <ac:chgData name="Gao, Tianyun (SI BP AUT EA PROD)" userId="25b3c3cc-5a46-4d03-a516-a1293833cff3" providerId="ADAL" clId="{827F7300-70D8-4B8E-8059-E0A9D709BD6E}" dt="2021-10-04T20:40:02.066" v="4218" actId="1076"/>
          <ac:spMkLst>
            <pc:docMk/>
            <pc:sldMk cId="3635193786" sldId="967"/>
            <ac:spMk id="22" creationId="{2ABE4F4E-14DD-42CE-9A52-B4D75AE74006}"/>
          </ac:spMkLst>
        </pc:spChg>
        <pc:spChg chg="add mod">
          <ac:chgData name="Gao, Tianyun (SI BP AUT EA PROD)" userId="25b3c3cc-5a46-4d03-a516-a1293833cff3" providerId="ADAL" clId="{827F7300-70D8-4B8E-8059-E0A9D709BD6E}" dt="2021-10-04T20:40:02.066" v="4218" actId="1076"/>
          <ac:spMkLst>
            <pc:docMk/>
            <pc:sldMk cId="3635193786" sldId="967"/>
            <ac:spMk id="23" creationId="{1B73ECBD-5D13-4530-A601-19F0524AB75D}"/>
          </ac:spMkLst>
        </pc:spChg>
        <pc:spChg chg="add mod">
          <ac:chgData name="Gao, Tianyun (SI BP AUT EA PROD)" userId="25b3c3cc-5a46-4d03-a516-a1293833cff3" providerId="ADAL" clId="{827F7300-70D8-4B8E-8059-E0A9D709BD6E}" dt="2021-10-04T20:40:02.066" v="4218" actId="1076"/>
          <ac:spMkLst>
            <pc:docMk/>
            <pc:sldMk cId="3635193786" sldId="967"/>
            <ac:spMk id="24" creationId="{49D4A175-729D-4C7A-8ED6-44B92CB002D6}"/>
          </ac:spMkLst>
        </pc:spChg>
        <pc:spChg chg="add mod">
          <ac:chgData name="Gao, Tianyun (SI BP AUT EA PROD)" userId="25b3c3cc-5a46-4d03-a516-a1293833cff3" providerId="ADAL" clId="{827F7300-70D8-4B8E-8059-E0A9D709BD6E}" dt="2021-10-04T20:40:02.066" v="4218" actId="1076"/>
          <ac:spMkLst>
            <pc:docMk/>
            <pc:sldMk cId="3635193786" sldId="967"/>
            <ac:spMk id="25" creationId="{16E7EBDB-0A4D-465A-8831-489BAE62E0EA}"/>
          </ac:spMkLst>
        </pc:spChg>
        <pc:spChg chg="add mod">
          <ac:chgData name="Gao, Tianyun (SI BP AUT EA PROD)" userId="25b3c3cc-5a46-4d03-a516-a1293833cff3" providerId="ADAL" clId="{827F7300-70D8-4B8E-8059-E0A9D709BD6E}" dt="2021-10-04T20:40:02.066" v="4218" actId="1076"/>
          <ac:spMkLst>
            <pc:docMk/>
            <pc:sldMk cId="3635193786" sldId="967"/>
            <ac:spMk id="28" creationId="{C65A48A6-9820-4A67-8313-6833D5639765}"/>
          </ac:spMkLst>
        </pc:spChg>
        <pc:spChg chg="add del mod">
          <ac:chgData name="Gao, Tianyun (SI BP AUT EA PROD)" userId="25b3c3cc-5a46-4d03-a516-a1293833cff3" providerId="ADAL" clId="{827F7300-70D8-4B8E-8059-E0A9D709BD6E}" dt="2021-09-21T08:23:59.122" v="1278" actId="478"/>
          <ac:spMkLst>
            <pc:docMk/>
            <pc:sldMk cId="3635193786" sldId="967"/>
            <ac:spMk id="29" creationId="{CEC9A611-B5A1-4A2B-8BD9-75D60D331FCF}"/>
          </ac:spMkLst>
        </pc:spChg>
        <pc:spChg chg="mod">
          <ac:chgData name="Gao, Tianyun (SI BP AUT EA PROD)" userId="25b3c3cc-5a46-4d03-a516-a1293833cff3" providerId="ADAL" clId="{827F7300-70D8-4B8E-8059-E0A9D709BD6E}" dt="2021-09-21T07:49:14.338" v="694" actId="6549"/>
          <ac:spMkLst>
            <pc:docMk/>
            <pc:sldMk cId="3635193786" sldId="967"/>
            <ac:spMk id="42" creationId="{40D4CD4D-F472-43B5-9B35-38EDD6C6CEA3}"/>
          </ac:spMkLst>
        </pc:spChg>
        <pc:graphicFrameChg chg="mod">
          <ac:chgData name="Gao, Tianyun (SI BP AUT EA PROD)" userId="25b3c3cc-5a46-4d03-a516-a1293833cff3" providerId="ADAL" clId="{827F7300-70D8-4B8E-8059-E0A9D709BD6E}" dt="2021-10-04T20:40:02.066" v="4218" actId="1076"/>
          <ac:graphicFrameMkLst>
            <pc:docMk/>
            <pc:sldMk cId="3635193786" sldId="967"/>
            <ac:graphicFrameMk id="16" creationId="{0C7D8580-5C42-4870-B82D-19E862828E06}"/>
          </ac:graphicFrameMkLst>
        </pc:graphicFrameChg>
        <pc:cxnChg chg="mod">
          <ac:chgData name="Gao, Tianyun (SI BP AUT EA PROD)" userId="25b3c3cc-5a46-4d03-a516-a1293833cff3" providerId="ADAL" clId="{827F7300-70D8-4B8E-8059-E0A9D709BD6E}" dt="2021-10-04T20:40:02.066" v="4218" actId="1076"/>
          <ac:cxnSpMkLst>
            <pc:docMk/>
            <pc:sldMk cId="3635193786" sldId="967"/>
            <ac:cxnSpMk id="6" creationId="{DBB418BC-95FB-4453-B2B3-F3A75946C757}"/>
          </ac:cxnSpMkLst>
        </pc:cxnChg>
        <pc:cxnChg chg="mod">
          <ac:chgData name="Gao, Tianyun (SI BP AUT EA PROD)" userId="25b3c3cc-5a46-4d03-a516-a1293833cff3" providerId="ADAL" clId="{827F7300-70D8-4B8E-8059-E0A9D709BD6E}" dt="2021-10-04T20:40:02.066" v="4218" actId="1076"/>
          <ac:cxnSpMkLst>
            <pc:docMk/>
            <pc:sldMk cId="3635193786" sldId="967"/>
            <ac:cxnSpMk id="11" creationId="{AC9657B1-12CD-4935-98DA-912AAACB379A}"/>
          </ac:cxnSpMkLst>
        </pc:cxnChg>
        <pc:cxnChg chg="mod">
          <ac:chgData name="Gao, Tianyun (SI BP AUT EA PROD)" userId="25b3c3cc-5a46-4d03-a516-a1293833cff3" providerId="ADAL" clId="{827F7300-70D8-4B8E-8059-E0A9D709BD6E}" dt="2021-10-04T20:40:02.066" v="4218" actId="1076"/>
          <ac:cxnSpMkLst>
            <pc:docMk/>
            <pc:sldMk cId="3635193786" sldId="967"/>
            <ac:cxnSpMk id="26" creationId="{37DCE923-D6D2-4903-B6FA-26F8A935165C}"/>
          </ac:cxnSpMkLst>
        </pc:cxnChg>
        <pc:cxnChg chg="mod">
          <ac:chgData name="Gao, Tianyun (SI BP AUT EA PROD)" userId="25b3c3cc-5a46-4d03-a516-a1293833cff3" providerId="ADAL" clId="{827F7300-70D8-4B8E-8059-E0A9D709BD6E}" dt="2021-10-04T20:40:02.066" v="4218" actId="1076"/>
          <ac:cxnSpMkLst>
            <pc:docMk/>
            <pc:sldMk cId="3635193786" sldId="967"/>
            <ac:cxnSpMk id="27" creationId="{0D564C88-BA5A-4362-8564-0334077CABE3}"/>
          </ac:cxnSpMkLst>
        </pc:cxnChg>
      </pc:sldChg>
      <pc:sldChg chg="addSp delSp modSp mod ord modShow">
        <pc:chgData name="Gao, Tianyun (SI BP AUT EA PROD)" userId="25b3c3cc-5a46-4d03-a516-a1293833cff3" providerId="ADAL" clId="{827F7300-70D8-4B8E-8059-E0A9D709BD6E}" dt="2021-10-05T13:26:15.769" v="5334" actId="20577"/>
        <pc:sldMkLst>
          <pc:docMk/>
          <pc:sldMk cId="324226510" sldId="968"/>
        </pc:sldMkLst>
        <pc:spChg chg="mod">
          <ac:chgData name="Gao, Tianyun (SI BP AUT EA PROD)" userId="25b3c3cc-5a46-4d03-a516-a1293833cff3" providerId="ADAL" clId="{827F7300-70D8-4B8E-8059-E0A9D709BD6E}" dt="2021-10-05T13:10:26.154" v="4607" actId="6549"/>
          <ac:spMkLst>
            <pc:docMk/>
            <pc:sldMk cId="324226510" sldId="968"/>
            <ac:spMk id="3" creationId="{50E17820-B62F-4719-80D9-FEC26EF1D72C}"/>
          </ac:spMkLst>
        </pc:spChg>
        <pc:spChg chg="add mod">
          <ac:chgData name="Gao, Tianyun (SI BP AUT EA PROD)" userId="25b3c3cc-5a46-4d03-a516-a1293833cff3" providerId="ADAL" clId="{827F7300-70D8-4B8E-8059-E0A9D709BD6E}" dt="2021-10-05T13:17:51.631" v="5149" actId="1076"/>
          <ac:spMkLst>
            <pc:docMk/>
            <pc:sldMk cId="324226510" sldId="968"/>
            <ac:spMk id="19" creationId="{52C4C246-F6DA-4D02-BE4A-981B2E0D6CF3}"/>
          </ac:spMkLst>
        </pc:spChg>
        <pc:spChg chg="add mod">
          <ac:chgData name="Gao, Tianyun (SI BP AUT EA PROD)" userId="25b3c3cc-5a46-4d03-a516-a1293833cff3" providerId="ADAL" clId="{827F7300-70D8-4B8E-8059-E0A9D709BD6E}" dt="2021-10-05T13:26:15.769" v="5334" actId="20577"/>
          <ac:spMkLst>
            <pc:docMk/>
            <pc:sldMk cId="324226510" sldId="968"/>
            <ac:spMk id="20" creationId="{36BB1D5C-9FDE-4F18-8845-DE9002303739}"/>
          </ac:spMkLst>
        </pc:spChg>
        <pc:spChg chg="mod">
          <ac:chgData name="Gao, Tianyun (SI BP AUT EA PROD)" userId="25b3c3cc-5a46-4d03-a516-a1293833cff3" providerId="ADAL" clId="{827F7300-70D8-4B8E-8059-E0A9D709BD6E}" dt="2021-09-28T09:17:45.046" v="2970" actId="20577"/>
          <ac:spMkLst>
            <pc:docMk/>
            <pc:sldMk cId="324226510" sldId="968"/>
            <ac:spMk id="43" creationId="{98A43F71-6AED-4674-9845-05F3AB688E7C}"/>
          </ac:spMkLst>
        </pc:spChg>
        <pc:spChg chg="del mod">
          <ac:chgData name="Gao, Tianyun (SI BP AUT EA PROD)" userId="25b3c3cc-5a46-4d03-a516-a1293833cff3" providerId="ADAL" clId="{827F7300-70D8-4B8E-8059-E0A9D709BD6E}" dt="2021-10-05T12:59:00.506" v="4232" actId="478"/>
          <ac:spMkLst>
            <pc:docMk/>
            <pc:sldMk cId="324226510" sldId="968"/>
            <ac:spMk id="44" creationId="{68D8C852-7E58-4BF8-AE8E-EF87F2261281}"/>
          </ac:spMkLst>
        </pc:spChg>
        <pc:picChg chg="del">
          <ac:chgData name="Gao, Tianyun (SI BP AUT EA PROD)" userId="25b3c3cc-5a46-4d03-a516-a1293833cff3" providerId="ADAL" clId="{827F7300-70D8-4B8E-8059-E0A9D709BD6E}" dt="2021-10-05T12:57:46.988" v="4226" actId="478"/>
          <ac:picMkLst>
            <pc:docMk/>
            <pc:sldMk cId="324226510" sldId="968"/>
            <ac:picMk id="4" creationId="{431259B4-27AC-4E03-AD90-8838B0BF8DD0}"/>
          </ac:picMkLst>
        </pc:picChg>
        <pc:picChg chg="add mod">
          <ac:chgData name="Gao, Tianyun (SI BP AUT EA PROD)" userId="25b3c3cc-5a46-4d03-a516-a1293833cff3" providerId="ADAL" clId="{827F7300-70D8-4B8E-8059-E0A9D709BD6E}" dt="2021-10-05T13:24:56.093" v="5199" actId="1076"/>
          <ac:picMkLst>
            <pc:docMk/>
            <pc:sldMk cId="324226510" sldId="968"/>
            <ac:picMk id="6" creationId="{E94BE533-4CCE-40E8-98E9-202085910DDC}"/>
          </ac:picMkLst>
        </pc:picChg>
        <pc:picChg chg="del">
          <ac:chgData name="Gao, Tianyun (SI BP AUT EA PROD)" userId="25b3c3cc-5a46-4d03-a516-a1293833cff3" providerId="ADAL" clId="{827F7300-70D8-4B8E-8059-E0A9D709BD6E}" dt="2021-10-05T12:57:46.988" v="4226" actId="478"/>
          <ac:picMkLst>
            <pc:docMk/>
            <pc:sldMk cId="324226510" sldId="968"/>
            <ac:picMk id="7" creationId="{B195A992-576A-40ED-8454-9F8323A96501}"/>
          </ac:picMkLst>
        </pc:picChg>
        <pc:picChg chg="del">
          <ac:chgData name="Gao, Tianyun (SI BP AUT EA PROD)" userId="25b3c3cc-5a46-4d03-a516-a1293833cff3" providerId="ADAL" clId="{827F7300-70D8-4B8E-8059-E0A9D709BD6E}" dt="2021-10-05T12:57:46.988" v="4226" actId="478"/>
          <ac:picMkLst>
            <pc:docMk/>
            <pc:sldMk cId="324226510" sldId="968"/>
            <ac:picMk id="12" creationId="{4C232BA4-C14B-4456-A3AC-D27D3D5F7AA6}"/>
          </ac:picMkLst>
        </pc:picChg>
        <pc:picChg chg="del mod">
          <ac:chgData name="Gao, Tianyun (SI BP AUT EA PROD)" userId="25b3c3cc-5a46-4d03-a516-a1293833cff3" providerId="ADAL" clId="{827F7300-70D8-4B8E-8059-E0A9D709BD6E}" dt="2021-10-05T12:57:46.988" v="4226" actId="478"/>
          <ac:picMkLst>
            <pc:docMk/>
            <pc:sldMk cId="324226510" sldId="968"/>
            <ac:picMk id="17" creationId="{9DA2931F-AD25-4F15-85EE-C70E65B98B61}"/>
          </ac:picMkLst>
        </pc:picChg>
        <pc:picChg chg="del mod">
          <ac:chgData name="Gao, Tianyun (SI BP AUT EA PROD)" userId="25b3c3cc-5a46-4d03-a516-a1293833cff3" providerId="ADAL" clId="{827F7300-70D8-4B8E-8059-E0A9D709BD6E}" dt="2021-10-05T12:57:46.988" v="4226" actId="478"/>
          <ac:picMkLst>
            <pc:docMk/>
            <pc:sldMk cId="324226510" sldId="968"/>
            <ac:picMk id="21" creationId="{9F01D0E1-7F55-49B2-914D-254B9FE91C86}"/>
          </ac:picMkLst>
        </pc:picChg>
        <pc:cxnChg chg="del mod">
          <ac:chgData name="Gao, Tianyun (SI BP AUT EA PROD)" userId="25b3c3cc-5a46-4d03-a516-a1293833cff3" providerId="ADAL" clId="{827F7300-70D8-4B8E-8059-E0A9D709BD6E}" dt="2021-10-05T12:57:46.988" v="4226" actId="478"/>
          <ac:cxnSpMkLst>
            <pc:docMk/>
            <pc:sldMk cId="324226510" sldId="968"/>
            <ac:cxnSpMk id="9" creationId="{971B6309-D158-42F8-AABA-8BD6A0D05B86}"/>
          </ac:cxnSpMkLst>
        </pc:cxnChg>
        <pc:cxnChg chg="del">
          <ac:chgData name="Gao, Tianyun (SI BP AUT EA PROD)" userId="25b3c3cc-5a46-4d03-a516-a1293833cff3" providerId="ADAL" clId="{827F7300-70D8-4B8E-8059-E0A9D709BD6E}" dt="2021-10-05T12:57:46.988" v="4226" actId="478"/>
          <ac:cxnSpMkLst>
            <pc:docMk/>
            <pc:sldMk cId="324226510" sldId="968"/>
            <ac:cxnSpMk id="13" creationId="{5557D8B6-9306-49D5-86A8-8F6E46DCD5DD}"/>
          </ac:cxnSpMkLst>
        </pc:cxnChg>
        <pc:cxnChg chg="del">
          <ac:chgData name="Gao, Tianyun (SI BP AUT EA PROD)" userId="25b3c3cc-5a46-4d03-a516-a1293833cff3" providerId="ADAL" clId="{827F7300-70D8-4B8E-8059-E0A9D709BD6E}" dt="2021-10-05T12:57:46.988" v="4226" actId="478"/>
          <ac:cxnSpMkLst>
            <pc:docMk/>
            <pc:sldMk cId="324226510" sldId="968"/>
            <ac:cxnSpMk id="18" creationId="{3A6E4E92-181B-4998-98AC-6E012113421F}"/>
          </ac:cxnSpMkLst>
        </pc:cxnChg>
        <pc:cxnChg chg="del">
          <ac:chgData name="Gao, Tianyun (SI BP AUT EA PROD)" userId="25b3c3cc-5a46-4d03-a516-a1293833cff3" providerId="ADAL" clId="{827F7300-70D8-4B8E-8059-E0A9D709BD6E}" dt="2021-10-05T12:57:46.988" v="4226" actId="478"/>
          <ac:cxnSpMkLst>
            <pc:docMk/>
            <pc:sldMk cId="324226510" sldId="968"/>
            <ac:cxnSpMk id="22" creationId="{8E02A176-6011-4A10-9DBB-B20D5D1686F0}"/>
          </ac:cxnSpMkLst>
        </pc:cxnChg>
        <pc:cxnChg chg="del">
          <ac:chgData name="Gao, Tianyun (SI BP AUT EA PROD)" userId="25b3c3cc-5a46-4d03-a516-a1293833cff3" providerId="ADAL" clId="{827F7300-70D8-4B8E-8059-E0A9D709BD6E}" dt="2021-10-05T12:57:46.988" v="4226" actId="478"/>
          <ac:cxnSpMkLst>
            <pc:docMk/>
            <pc:sldMk cId="324226510" sldId="968"/>
            <ac:cxnSpMk id="26" creationId="{083603E0-CC12-4B05-B286-1654D1B8CB7E}"/>
          </ac:cxnSpMkLst>
        </pc:cxnChg>
      </pc:sldChg>
      <pc:sldChg chg="mod ord modShow">
        <pc:chgData name="Gao, Tianyun (SI BP AUT EA PROD)" userId="25b3c3cc-5a46-4d03-a516-a1293833cff3" providerId="ADAL" clId="{827F7300-70D8-4B8E-8059-E0A9D709BD6E}" dt="2021-09-21T08:29:54.371" v="1385" actId="729"/>
        <pc:sldMkLst>
          <pc:docMk/>
          <pc:sldMk cId="4268296303" sldId="969"/>
        </pc:sldMkLst>
      </pc:sldChg>
      <pc:sldChg chg="addSp delSp modSp del mod ord modShow">
        <pc:chgData name="Gao, Tianyun (SI BP AUT EA PROD)" userId="25b3c3cc-5a46-4d03-a516-a1293833cff3" providerId="ADAL" clId="{827F7300-70D8-4B8E-8059-E0A9D709BD6E}" dt="2021-09-28T09:25:33.522" v="3018" actId="47"/>
        <pc:sldMkLst>
          <pc:docMk/>
          <pc:sldMk cId="1275340611" sldId="970"/>
        </pc:sldMkLst>
        <pc:spChg chg="add del mod">
          <ac:chgData name="Gao, Tianyun (SI BP AUT EA PROD)" userId="25b3c3cc-5a46-4d03-a516-a1293833cff3" providerId="ADAL" clId="{827F7300-70D8-4B8E-8059-E0A9D709BD6E}" dt="2021-09-21T08:25:55.435" v="1284"/>
          <ac:spMkLst>
            <pc:docMk/>
            <pc:sldMk cId="1275340611" sldId="970"/>
            <ac:spMk id="54" creationId="{0BD4BCA0-B1EC-4F30-9C2D-1C4346AA0CCE}"/>
          </ac:spMkLst>
        </pc:spChg>
      </pc:sldChg>
      <pc:sldChg chg="addSp delSp modSp del mod ord">
        <pc:chgData name="Gao, Tianyun (SI BP AUT EA PROD)" userId="25b3c3cc-5a46-4d03-a516-a1293833cff3" providerId="ADAL" clId="{827F7300-70D8-4B8E-8059-E0A9D709BD6E}" dt="2021-09-21T08:43:37.372" v="1698" actId="47"/>
        <pc:sldMkLst>
          <pc:docMk/>
          <pc:sldMk cId="2884536962" sldId="971"/>
        </pc:sldMkLst>
        <pc:spChg chg="mod">
          <ac:chgData name="Gao, Tianyun (SI BP AUT EA PROD)" userId="25b3c3cc-5a46-4d03-a516-a1293833cff3" providerId="ADAL" clId="{827F7300-70D8-4B8E-8059-E0A9D709BD6E}" dt="2021-09-21T08:41:40.048" v="1596" actId="14100"/>
          <ac:spMkLst>
            <pc:docMk/>
            <pc:sldMk cId="2884536962" sldId="971"/>
            <ac:spMk id="3" creationId="{50E17820-B62F-4719-80D9-FEC26EF1D72C}"/>
          </ac:spMkLst>
        </pc:spChg>
        <pc:spChg chg="del mod">
          <ac:chgData name="Gao, Tianyun (SI BP AUT EA PROD)" userId="25b3c3cc-5a46-4d03-a516-a1293833cff3" providerId="ADAL" clId="{827F7300-70D8-4B8E-8059-E0A9D709BD6E}" dt="2021-09-21T08:43:15.876" v="1697" actId="478"/>
          <ac:spMkLst>
            <pc:docMk/>
            <pc:sldMk cId="2884536962" sldId="971"/>
            <ac:spMk id="14" creationId="{462A4F4B-86F1-47A5-AEED-D8506D9714E6}"/>
          </ac:spMkLst>
        </pc:spChg>
        <pc:spChg chg="add del mod">
          <ac:chgData name="Gao, Tianyun (SI BP AUT EA PROD)" userId="25b3c3cc-5a46-4d03-a516-a1293833cff3" providerId="ADAL" clId="{827F7300-70D8-4B8E-8059-E0A9D709BD6E}" dt="2021-09-21T08:43:15.876" v="1697" actId="478"/>
          <ac:spMkLst>
            <pc:docMk/>
            <pc:sldMk cId="2884536962" sldId="971"/>
            <ac:spMk id="20" creationId="{F6D67B1C-7BB0-47C0-9439-F4629C74AC7A}"/>
          </ac:spMkLst>
        </pc:spChg>
        <pc:grpChg chg="del">
          <ac:chgData name="Gao, Tianyun (SI BP AUT EA PROD)" userId="25b3c3cc-5a46-4d03-a516-a1293833cff3" providerId="ADAL" clId="{827F7300-70D8-4B8E-8059-E0A9D709BD6E}" dt="2021-09-21T08:43:15.876" v="1697" actId="478"/>
          <ac:grpSpMkLst>
            <pc:docMk/>
            <pc:sldMk cId="2884536962" sldId="971"/>
            <ac:grpSpMk id="15" creationId="{622F59AA-C1CB-46A1-AA1C-D70CEFB02AAE}"/>
          </ac:grpSpMkLst>
        </pc:grpChg>
        <pc:picChg chg="del">
          <ac:chgData name="Gao, Tianyun (SI BP AUT EA PROD)" userId="25b3c3cc-5a46-4d03-a516-a1293833cff3" providerId="ADAL" clId="{827F7300-70D8-4B8E-8059-E0A9D709BD6E}" dt="2021-09-21T08:43:15.876" v="1697" actId="478"/>
          <ac:picMkLst>
            <pc:docMk/>
            <pc:sldMk cId="2884536962" sldId="971"/>
            <ac:picMk id="7" creationId="{0CFA822A-CE6B-45F8-B0CF-1DCBC176D0A7}"/>
          </ac:picMkLst>
        </pc:picChg>
        <pc:picChg chg="del">
          <ac:chgData name="Gao, Tianyun (SI BP AUT EA PROD)" userId="25b3c3cc-5a46-4d03-a516-a1293833cff3" providerId="ADAL" clId="{827F7300-70D8-4B8E-8059-E0A9D709BD6E}" dt="2021-09-21T08:43:15.876" v="1697" actId="478"/>
          <ac:picMkLst>
            <pc:docMk/>
            <pc:sldMk cId="2884536962" sldId="971"/>
            <ac:picMk id="18" creationId="{1F091D5C-073C-4479-8E6A-FC66DD6A76F3}"/>
          </ac:picMkLst>
        </pc:picChg>
        <pc:cxnChg chg="add del mod">
          <ac:chgData name="Gao, Tianyun (SI BP AUT EA PROD)" userId="25b3c3cc-5a46-4d03-a516-a1293833cff3" providerId="ADAL" clId="{827F7300-70D8-4B8E-8059-E0A9D709BD6E}" dt="2021-09-21T08:43:15.876" v="1697" actId="478"/>
          <ac:cxnSpMkLst>
            <pc:docMk/>
            <pc:sldMk cId="2884536962" sldId="971"/>
            <ac:cxnSpMk id="8" creationId="{BE2FAAE5-58A3-4DDF-A84D-D139284C1D3F}"/>
          </ac:cxnSpMkLst>
        </pc:cxnChg>
        <pc:cxnChg chg="del">
          <ac:chgData name="Gao, Tianyun (SI BP AUT EA PROD)" userId="25b3c3cc-5a46-4d03-a516-a1293833cff3" providerId="ADAL" clId="{827F7300-70D8-4B8E-8059-E0A9D709BD6E}" dt="2021-09-21T08:43:15.876" v="1697" actId="478"/>
          <ac:cxnSpMkLst>
            <pc:docMk/>
            <pc:sldMk cId="2884536962" sldId="971"/>
            <ac:cxnSpMk id="9" creationId="{777E404C-84E8-4FB2-A19C-6CDEDCCCC161}"/>
          </ac:cxnSpMkLst>
        </pc:cxnChg>
        <pc:cxnChg chg="add del">
          <ac:chgData name="Gao, Tianyun (SI BP AUT EA PROD)" userId="25b3c3cc-5a46-4d03-a516-a1293833cff3" providerId="ADAL" clId="{827F7300-70D8-4B8E-8059-E0A9D709BD6E}" dt="2021-09-21T08:43:15.876" v="1697" actId="478"/>
          <ac:cxnSpMkLst>
            <pc:docMk/>
            <pc:sldMk cId="2884536962" sldId="971"/>
            <ac:cxnSpMk id="11" creationId="{F81641E5-A87C-4B7F-BF7C-3C2244EA6C95}"/>
          </ac:cxnSpMkLst>
        </pc:cxnChg>
        <pc:cxnChg chg="del">
          <ac:chgData name="Gao, Tianyun (SI BP AUT EA PROD)" userId="25b3c3cc-5a46-4d03-a516-a1293833cff3" providerId="ADAL" clId="{827F7300-70D8-4B8E-8059-E0A9D709BD6E}" dt="2021-09-21T08:43:15.876" v="1697" actId="478"/>
          <ac:cxnSpMkLst>
            <pc:docMk/>
            <pc:sldMk cId="2884536962" sldId="971"/>
            <ac:cxnSpMk id="19" creationId="{36C08AFF-3774-4B00-99AD-93DE75F38142}"/>
          </ac:cxnSpMkLst>
        </pc:cxnChg>
      </pc:sldChg>
      <pc:sldChg chg="addSp delSp modSp mod ord modShow">
        <pc:chgData name="Gao, Tianyun (SI BP AUT EA PROD)" userId="25b3c3cc-5a46-4d03-a516-a1293833cff3" providerId="ADAL" clId="{827F7300-70D8-4B8E-8059-E0A9D709BD6E}" dt="2021-09-21T08:54:06.730" v="1763" actId="729"/>
        <pc:sldMkLst>
          <pc:docMk/>
          <pc:sldMk cId="2408277208" sldId="972"/>
        </pc:sldMkLst>
        <pc:spChg chg="add mod">
          <ac:chgData name="Gao, Tianyun (SI BP AUT EA PROD)" userId="25b3c3cc-5a46-4d03-a516-a1293833cff3" providerId="ADAL" clId="{827F7300-70D8-4B8E-8059-E0A9D709BD6E}" dt="2021-09-21T08:45:22.562" v="1704" actId="1076"/>
          <ac:spMkLst>
            <pc:docMk/>
            <pc:sldMk cId="2408277208" sldId="972"/>
            <ac:spMk id="22" creationId="{090B2510-25DE-4855-8114-31D7AA28A688}"/>
          </ac:spMkLst>
        </pc:spChg>
        <pc:spChg chg="del">
          <ac:chgData name="Gao, Tianyun (SI BP AUT EA PROD)" userId="25b3c3cc-5a46-4d03-a516-a1293833cff3" providerId="ADAL" clId="{827F7300-70D8-4B8E-8059-E0A9D709BD6E}" dt="2021-09-21T08:45:19.357" v="1702" actId="478"/>
          <ac:spMkLst>
            <pc:docMk/>
            <pc:sldMk cId="2408277208" sldId="972"/>
            <ac:spMk id="47" creationId="{FD8B9E69-8AE6-406C-9A53-3FB9A067C7B2}"/>
          </ac:spMkLst>
        </pc:spChg>
      </pc:sldChg>
      <pc:sldChg chg="addSp delSp modSp add mod">
        <pc:chgData name="Gao, Tianyun (SI BP AUT EA PROD)" userId="25b3c3cc-5a46-4d03-a516-a1293833cff3" providerId="ADAL" clId="{827F7300-70D8-4B8E-8059-E0A9D709BD6E}" dt="2021-09-28T09:13:22.306" v="2874" actId="478"/>
        <pc:sldMkLst>
          <pc:docMk/>
          <pc:sldMk cId="752877429" sldId="973"/>
        </pc:sldMkLst>
        <pc:spChg chg="mod">
          <ac:chgData name="Gao, Tianyun (SI BP AUT EA PROD)" userId="25b3c3cc-5a46-4d03-a516-a1293833cff3" providerId="ADAL" clId="{827F7300-70D8-4B8E-8059-E0A9D709BD6E}" dt="2021-09-28T09:13:08.942" v="2873" actId="20577"/>
          <ac:spMkLst>
            <pc:docMk/>
            <pc:sldMk cId="752877429" sldId="973"/>
            <ac:spMk id="3" creationId="{50E17820-B62F-4719-80D9-FEC26EF1D72C}"/>
          </ac:spMkLst>
        </pc:spChg>
        <pc:spChg chg="del">
          <ac:chgData name="Gao, Tianyun (SI BP AUT EA PROD)" userId="25b3c3cc-5a46-4d03-a516-a1293833cff3" providerId="ADAL" clId="{827F7300-70D8-4B8E-8059-E0A9D709BD6E}" dt="2021-09-28T09:13:22.306" v="2874" actId="478"/>
          <ac:spMkLst>
            <pc:docMk/>
            <pc:sldMk cId="752877429" sldId="973"/>
            <ac:spMk id="17" creationId="{471A8504-15F7-4E30-9A1F-69A9783FF197}"/>
          </ac:spMkLst>
        </pc:spChg>
        <pc:spChg chg="del">
          <ac:chgData name="Gao, Tianyun (SI BP AUT EA PROD)" userId="25b3c3cc-5a46-4d03-a516-a1293833cff3" providerId="ADAL" clId="{827F7300-70D8-4B8E-8059-E0A9D709BD6E}" dt="2021-09-28T09:13:22.306" v="2874" actId="478"/>
          <ac:spMkLst>
            <pc:docMk/>
            <pc:sldMk cId="752877429" sldId="973"/>
            <ac:spMk id="18" creationId="{EFD7B3BD-0F1E-4BAD-B944-FEAF90B13633}"/>
          </ac:spMkLst>
        </pc:spChg>
        <pc:spChg chg="add del mod">
          <ac:chgData name="Gao, Tianyun (SI BP AUT EA PROD)" userId="25b3c3cc-5a46-4d03-a516-a1293833cff3" providerId="ADAL" clId="{827F7300-70D8-4B8E-8059-E0A9D709BD6E}" dt="2021-09-28T09:12:48.789" v="2853" actId="478"/>
          <ac:spMkLst>
            <pc:docMk/>
            <pc:sldMk cId="752877429" sldId="973"/>
            <ac:spMk id="20" creationId="{D7775DFD-A6DD-4AF9-B3AF-BAD31914726C}"/>
          </ac:spMkLst>
        </pc:spChg>
        <pc:spChg chg="mod">
          <ac:chgData name="Gao, Tianyun (SI BP AUT EA PROD)" userId="25b3c3cc-5a46-4d03-a516-a1293833cff3" providerId="ADAL" clId="{827F7300-70D8-4B8E-8059-E0A9D709BD6E}" dt="2021-09-28T09:12:10.203" v="2850" actId="20577"/>
          <ac:spMkLst>
            <pc:docMk/>
            <pc:sldMk cId="752877429" sldId="973"/>
            <ac:spMk id="40" creationId="{571AD84A-8C44-4932-82D0-18495FC0A60F}"/>
          </ac:spMkLst>
        </pc:spChg>
      </pc:sldChg>
      <pc:sldChg chg="addSp delSp modSp del mod ord">
        <pc:chgData name="Gao, Tianyun (SI BP AUT EA PROD)" userId="25b3c3cc-5a46-4d03-a516-a1293833cff3" providerId="ADAL" clId="{827F7300-70D8-4B8E-8059-E0A9D709BD6E}" dt="2021-09-28T09:11:46.894" v="2823" actId="2696"/>
        <pc:sldMkLst>
          <pc:docMk/>
          <pc:sldMk cId="2852314789" sldId="973"/>
        </pc:sldMkLst>
        <pc:spChg chg="mod">
          <ac:chgData name="Gao, Tianyun (SI BP AUT EA PROD)" userId="25b3c3cc-5a46-4d03-a516-a1293833cff3" providerId="ADAL" clId="{827F7300-70D8-4B8E-8059-E0A9D709BD6E}" dt="2021-09-28T09:09:53.982" v="2820" actId="20577"/>
          <ac:spMkLst>
            <pc:docMk/>
            <pc:sldMk cId="2852314789" sldId="973"/>
            <ac:spMk id="17" creationId="{471A8504-15F7-4E30-9A1F-69A9783FF197}"/>
          </ac:spMkLst>
        </pc:spChg>
        <pc:spChg chg="mod">
          <ac:chgData name="Gao, Tianyun (SI BP AUT EA PROD)" userId="25b3c3cc-5a46-4d03-a516-a1293833cff3" providerId="ADAL" clId="{827F7300-70D8-4B8E-8059-E0A9D709BD6E}" dt="2021-09-28T09:08:55.547" v="2752" actId="13926"/>
          <ac:spMkLst>
            <pc:docMk/>
            <pc:sldMk cId="2852314789" sldId="973"/>
            <ac:spMk id="18" creationId="{EFD7B3BD-0F1E-4BAD-B944-FEAF90B13633}"/>
          </ac:spMkLst>
        </pc:spChg>
        <pc:spChg chg="add mod">
          <ac:chgData name="Gao, Tianyun (SI BP AUT EA PROD)" userId="25b3c3cc-5a46-4d03-a516-a1293833cff3" providerId="ADAL" clId="{827F7300-70D8-4B8E-8059-E0A9D709BD6E}" dt="2021-09-21T08:49:07.458" v="1706"/>
          <ac:spMkLst>
            <pc:docMk/>
            <pc:sldMk cId="2852314789" sldId="973"/>
            <ac:spMk id="19" creationId="{A494F8A1-9C76-4169-A94F-A8F74C9D8DC9}"/>
          </ac:spMkLst>
        </pc:spChg>
        <pc:spChg chg="add del mod">
          <ac:chgData name="Gao, Tianyun (SI BP AUT EA PROD)" userId="25b3c3cc-5a46-4d03-a516-a1293833cff3" providerId="ADAL" clId="{827F7300-70D8-4B8E-8059-E0A9D709BD6E}" dt="2021-09-28T09:08:52.228" v="2751" actId="478"/>
          <ac:spMkLst>
            <pc:docMk/>
            <pc:sldMk cId="2852314789" sldId="973"/>
            <ac:spMk id="20" creationId="{027EAE61-F119-481B-83C5-A82F7DA8C2C5}"/>
          </ac:spMkLst>
        </pc:spChg>
        <pc:spChg chg="del">
          <ac:chgData name="Gao, Tianyun (SI BP AUT EA PROD)" userId="25b3c3cc-5a46-4d03-a516-a1293833cff3" providerId="ADAL" clId="{827F7300-70D8-4B8E-8059-E0A9D709BD6E}" dt="2021-09-21T08:49:06.891" v="1705" actId="478"/>
          <ac:spMkLst>
            <pc:docMk/>
            <pc:sldMk cId="2852314789" sldId="973"/>
            <ac:spMk id="41" creationId="{AC0CB7B6-1C28-4754-81E1-1E8300190978}"/>
          </ac:spMkLst>
        </pc:spChg>
      </pc:sldChg>
      <pc:sldChg chg="ord">
        <pc:chgData name="Gao, Tianyun (SI BP AUT EA PROD)" userId="25b3c3cc-5a46-4d03-a516-a1293833cff3" providerId="ADAL" clId="{827F7300-70D8-4B8E-8059-E0A9D709BD6E}" dt="2021-09-17T07:42:16.358" v="1"/>
        <pc:sldMkLst>
          <pc:docMk/>
          <pc:sldMk cId="3920165038" sldId="2431"/>
        </pc:sldMkLst>
      </pc:sldChg>
      <pc:sldChg chg="addSp delSp modSp mod ord">
        <pc:chgData name="Gao, Tianyun (SI BP AUT EA PROD)" userId="25b3c3cc-5a46-4d03-a516-a1293833cff3" providerId="ADAL" clId="{827F7300-70D8-4B8E-8059-E0A9D709BD6E}" dt="2021-10-04T20:21:28.360" v="3996" actId="20577"/>
        <pc:sldMkLst>
          <pc:docMk/>
          <pc:sldMk cId="1004559465" sldId="2432"/>
        </pc:sldMkLst>
        <pc:spChg chg="mod">
          <ac:chgData name="Gao, Tianyun (SI BP AUT EA PROD)" userId="25b3c3cc-5a46-4d03-a516-a1293833cff3" providerId="ADAL" clId="{827F7300-70D8-4B8E-8059-E0A9D709BD6E}" dt="2021-10-04T20:21:28.360" v="3996" actId="20577"/>
          <ac:spMkLst>
            <pc:docMk/>
            <pc:sldMk cId="1004559465" sldId="2432"/>
            <ac:spMk id="3" creationId="{60A7DF81-421E-4490-8608-D85C95DEBF68}"/>
          </ac:spMkLst>
        </pc:spChg>
        <pc:spChg chg="mod">
          <ac:chgData name="Gao, Tianyun (SI BP AUT EA PROD)" userId="25b3c3cc-5a46-4d03-a516-a1293833cff3" providerId="ADAL" clId="{827F7300-70D8-4B8E-8059-E0A9D709BD6E}" dt="2021-10-04T19:41:02.444" v="3039" actId="1076"/>
          <ac:spMkLst>
            <pc:docMk/>
            <pc:sldMk cId="1004559465" sldId="2432"/>
            <ac:spMk id="16" creationId="{EC2E7E6A-D290-4852-BCAA-83584C01BE12}"/>
          </ac:spMkLst>
        </pc:spChg>
        <pc:spChg chg="mod">
          <ac:chgData name="Gao, Tianyun (SI BP AUT EA PROD)" userId="25b3c3cc-5a46-4d03-a516-a1293833cff3" providerId="ADAL" clId="{827F7300-70D8-4B8E-8059-E0A9D709BD6E}" dt="2021-10-04T19:41:02.444" v="3039" actId="1076"/>
          <ac:spMkLst>
            <pc:docMk/>
            <pc:sldMk cId="1004559465" sldId="2432"/>
            <ac:spMk id="17" creationId="{CFD5E995-EBDB-4F0D-82A9-ECB9F3435978}"/>
          </ac:spMkLst>
        </pc:spChg>
        <pc:spChg chg="mod">
          <ac:chgData name="Gao, Tianyun (SI BP AUT EA PROD)" userId="25b3c3cc-5a46-4d03-a516-a1293833cff3" providerId="ADAL" clId="{827F7300-70D8-4B8E-8059-E0A9D709BD6E}" dt="2021-10-04T19:41:02.444" v="3039" actId="1076"/>
          <ac:spMkLst>
            <pc:docMk/>
            <pc:sldMk cId="1004559465" sldId="2432"/>
            <ac:spMk id="18" creationId="{508C1E4D-E5A8-4743-959D-0A8BA1668F8E}"/>
          </ac:spMkLst>
        </pc:spChg>
        <pc:spChg chg="mod">
          <ac:chgData name="Gao, Tianyun (SI BP AUT EA PROD)" userId="25b3c3cc-5a46-4d03-a516-a1293833cff3" providerId="ADAL" clId="{827F7300-70D8-4B8E-8059-E0A9D709BD6E}" dt="2021-10-04T19:41:02.444" v="3039" actId="1076"/>
          <ac:spMkLst>
            <pc:docMk/>
            <pc:sldMk cId="1004559465" sldId="2432"/>
            <ac:spMk id="19" creationId="{A25D5167-8F9B-4E95-A74E-319EED052D1D}"/>
          </ac:spMkLst>
        </pc:spChg>
        <pc:spChg chg="add del mod">
          <ac:chgData name="Gao, Tianyun (SI BP AUT EA PROD)" userId="25b3c3cc-5a46-4d03-a516-a1293833cff3" providerId="ADAL" clId="{827F7300-70D8-4B8E-8059-E0A9D709BD6E}" dt="2021-10-04T20:00:22.774" v="3533" actId="478"/>
          <ac:spMkLst>
            <pc:docMk/>
            <pc:sldMk cId="1004559465" sldId="2432"/>
            <ac:spMk id="20" creationId="{09266BA3-B3F7-4B20-86AF-1086C0FC8BCC}"/>
          </ac:spMkLst>
        </pc:spChg>
        <pc:spChg chg="add del mod">
          <ac:chgData name="Gao, Tianyun (SI BP AUT EA PROD)" userId="25b3c3cc-5a46-4d03-a516-a1293833cff3" providerId="ADAL" clId="{827F7300-70D8-4B8E-8059-E0A9D709BD6E}" dt="2021-10-04T19:57:29.830" v="3395" actId="478"/>
          <ac:spMkLst>
            <pc:docMk/>
            <pc:sldMk cId="1004559465" sldId="2432"/>
            <ac:spMk id="22" creationId="{1E89E7DC-A289-4557-A967-B63C8289B046}"/>
          </ac:spMkLst>
        </pc:spChg>
        <pc:spChg chg="add del mod">
          <ac:chgData name="Gao, Tianyun (SI BP AUT EA PROD)" userId="25b3c3cc-5a46-4d03-a516-a1293833cff3" providerId="ADAL" clId="{827F7300-70D8-4B8E-8059-E0A9D709BD6E}" dt="2021-10-04T20:00:19.520" v="3532" actId="478"/>
          <ac:spMkLst>
            <pc:docMk/>
            <pc:sldMk cId="1004559465" sldId="2432"/>
            <ac:spMk id="24" creationId="{27696B0A-F627-4557-8746-F76E010E6056}"/>
          </ac:spMkLst>
        </pc:spChg>
        <pc:spChg chg="add del mod">
          <ac:chgData name="Gao, Tianyun (SI BP AUT EA PROD)" userId="25b3c3cc-5a46-4d03-a516-a1293833cff3" providerId="ADAL" clId="{827F7300-70D8-4B8E-8059-E0A9D709BD6E}" dt="2021-10-04T20:00:25.538" v="3534" actId="478"/>
          <ac:spMkLst>
            <pc:docMk/>
            <pc:sldMk cId="1004559465" sldId="2432"/>
            <ac:spMk id="26" creationId="{A8D006C2-E293-4DDC-870A-C3828CB9482A}"/>
          </ac:spMkLst>
        </pc:spChg>
        <pc:spChg chg="add mod">
          <ac:chgData name="Gao, Tianyun (SI BP AUT EA PROD)" userId="25b3c3cc-5a46-4d03-a516-a1293833cff3" providerId="ADAL" clId="{827F7300-70D8-4B8E-8059-E0A9D709BD6E}" dt="2021-10-04T19:46:24.266" v="3282" actId="14100"/>
          <ac:spMkLst>
            <pc:docMk/>
            <pc:sldMk cId="1004559465" sldId="2432"/>
            <ac:spMk id="28" creationId="{95F1FC88-012A-4D0C-AA18-2E9B5FB1227D}"/>
          </ac:spMkLst>
        </pc:spChg>
        <pc:spChg chg="mod">
          <ac:chgData name="Gao, Tianyun (SI BP AUT EA PROD)" userId="25b3c3cc-5a46-4d03-a516-a1293833cff3" providerId="ADAL" clId="{827F7300-70D8-4B8E-8059-E0A9D709BD6E}" dt="2021-09-21T07:38:16.116" v="459" actId="20577"/>
          <ac:spMkLst>
            <pc:docMk/>
            <pc:sldMk cId="1004559465" sldId="2432"/>
            <ac:spMk id="52" creationId="{7596653A-E4B0-4C27-8959-B8DB9E4C5114}"/>
          </ac:spMkLst>
        </pc:spChg>
        <pc:picChg chg="del mod">
          <ac:chgData name="Gao, Tianyun (SI BP AUT EA PROD)" userId="25b3c3cc-5a46-4d03-a516-a1293833cff3" providerId="ADAL" clId="{827F7300-70D8-4B8E-8059-E0A9D709BD6E}" dt="2021-10-04T19:39:50.134" v="3020" actId="21"/>
          <ac:picMkLst>
            <pc:docMk/>
            <pc:sldMk cId="1004559465" sldId="2432"/>
            <ac:picMk id="5" creationId="{050A8662-7847-4CB6-96D2-6C3F7C9679AF}"/>
          </ac:picMkLst>
        </pc:picChg>
        <pc:picChg chg="del mod">
          <ac:chgData name="Gao, Tianyun (SI BP AUT EA PROD)" userId="25b3c3cc-5a46-4d03-a516-a1293833cff3" providerId="ADAL" clId="{827F7300-70D8-4B8E-8059-E0A9D709BD6E}" dt="2021-10-04T19:39:50.134" v="3020" actId="21"/>
          <ac:picMkLst>
            <pc:docMk/>
            <pc:sldMk cId="1004559465" sldId="2432"/>
            <ac:picMk id="8" creationId="{E6F35675-CF91-46E2-9D72-E37AFE9C30FE}"/>
          </ac:picMkLst>
        </pc:picChg>
        <pc:picChg chg="mod">
          <ac:chgData name="Gao, Tianyun (SI BP AUT EA PROD)" userId="25b3c3cc-5a46-4d03-a516-a1293833cff3" providerId="ADAL" clId="{827F7300-70D8-4B8E-8059-E0A9D709BD6E}" dt="2021-10-04T19:41:02.444" v="3039" actId="1076"/>
          <ac:picMkLst>
            <pc:docMk/>
            <pc:sldMk cId="1004559465" sldId="2432"/>
            <ac:picMk id="12" creationId="{68E26049-EA18-4E12-AA23-E7EF11045AA0}"/>
          </ac:picMkLst>
        </pc:picChg>
        <pc:picChg chg="mod">
          <ac:chgData name="Gao, Tianyun (SI BP AUT EA PROD)" userId="25b3c3cc-5a46-4d03-a516-a1293833cff3" providerId="ADAL" clId="{827F7300-70D8-4B8E-8059-E0A9D709BD6E}" dt="2021-10-04T19:41:02.444" v="3039" actId="1076"/>
          <ac:picMkLst>
            <pc:docMk/>
            <pc:sldMk cId="1004559465" sldId="2432"/>
            <ac:picMk id="21" creationId="{6C2BF3AB-12B0-4E8D-9F3E-DD2F68DF84FB}"/>
          </ac:picMkLst>
        </pc:picChg>
        <pc:picChg chg="mod">
          <ac:chgData name="Gao, Tianyun (SI BP AUT EA PROD)" userId="25b3c3cc-5a46-4d03-a516-a1293833cff3" providerId="ADAL" clId="{827F7300-70D8-4B8E-8059-E0A9D709BD6E}" dt="2021-10-04T19:41:02.444" v="3039" actId="1076"/>
          <ac:picMkLst>
            <pc:docMk/>
            <pc:sldMk cId="1004559465" sldId="2432"/>
            <ac:picMk id="23" creationId="{9CD939D8-362F-4674-90A9-7A2F1A95B8FA}"/>
          </ac:picMkLst>
        </pc:picChg>
        <pc:picChg chg="mod">
          <ac:chgData name="Gao, Tianyun (SI BP AUT EA PROD)" userId="25b3c3cc-5a46-4d03-a516-a1293833cff3" providerId="ADAL" clId="{827F7300-70D8-4B8E-8059-E0A9D709BD6E}" dt="2021-10-04T19:41:02.444" v="3039" actId="1076"/>
          <ac:picMkLst>
            <pc:docMk/>
            <pc:sldMk cId="1004559465" sldId="2432"/>
            <ac:picMk id="25" creationId="{48A10168-2DB3-4E98-9C44-A3BF8D810554}"/>
          </ac:picMkLst>
        </pc:picChg>
        <pc:picChg chg="mod">
          <ac:chgData name="Gao, Tianyun (SI BP AUT EA PROD)" userId="25b3c3cc-5a46-4d03-a516-a1293833cff3" providerId="ADAL" clId="{827F7300-70D8-4B8E-8059-E0A9D709BD6E}" dt="2021-10-04T19:41:02.444" v="3039" actId="1076"/>
          <ac:picMkLst>
            <pc:docMk/>
            <pc:sldMk cId="1004559465" sldId="2432"/>
            <ac:picMk id="27" creationId="{5288B8AE-9943-4323-ADC3-A31EDBAC49E3}"/>
          </ac:picMkLst>
        </pc:picChg>
        <pc:picChg chg="mod">
          <ac:chgData name="Gao, Tianyun (SI BP AUT EA PROD)" userId="25b3c3cc-5a46-4d03-a516-a1293833cff3" providerId="ADAL" clId="{827F7300-70D8-4B8E-8059-E0A9D709BD6E}" dt="2021-10-04T19:41:02.444" v="3039" actId="1076"/>
          <ac:picMkLst>
            <pc:docMk/>
            <pc:sldMk cId="1004559465" sldId="2432"/>
            <ac:picMk id="29" creationId="{0CFB9DA1-B162-4317-AA2A-2F3610412805}"/>
          </ac:picMkLst>
        </pc:picChg>
        <pc:picChg chg="mod">
          <ac:chgData name="Gao, Tianyun (SI BP AUT EA PROD)" userId="25b3c3cc-5a46-4d03-a516-a1293833cff3" providerId="ADAL" clId="{827F7300-70D8-4B8E-8059-E0A9D709BD6E}" dt="2021-10-04T19:41:02.444" v="3039" actId="1076"/>
          <ac:picMkLst>
            <pc:docMk/>
            <pc:sldMk cId="1004559465" sldId="2432"/>
            <ac:picMk id="30" creationId="{25E76135-66EB-41FD-B8E2-9F4036CCFAE8}"/>
          </ac:picMkLst>
        </pc:picChg>
      </pc:sldChg>
      <pc:sldChg chg="addSp modSp mod">
        <pc:chgData name="Gao, Tianyun (SI BP AUT EA PROD)" userId="25b3c3cc-5a46-4d03-a516-a1293833cff3" providerId="ADAL" clId="{827F7300-70D8-4B8E-8059-E0A9D709BD6E}" dt="2021-09-17T07:50:15.757" v="220" actId="1076"/>
        <pc:sldMkLst>
          <pc:docMk/>
          <pc:sldMk cId="606386633" sldId="2576"/>
        </pc:sldMkLst>
        <pc:spChg chg="add mod">
          <ac:chgData name="Gao, Tianyun (SI BP AUT EA PROD)" userId="25b3c3cc-5a46-4d03-a516-a1293833cff3" providerId="ADAL" clId="{827F7300-70D8-4B8E-8059-E0A9D709BD6E}" dt="2021-09-17T07:50:15.757" v="220" actId="1076"/>
          <ac:spMkLst>
            <pc:docMk/>
            <pc:sldMk cId="606386633" sldId="2576"/>
            <ac:spMk id="71" creationId="{132404AE-DC87-4AF1-9F5E-A5F2252926C5}"/>
          </ac:spMkLst>
        </pc:spChg>
      </pc:sldChg>
      <pc:sldChg chg="modSp mod">
        <pc:chgData name="Gao, Tianyun (SI BP AUT EA PROD)" userId="25b3c3cc-5a46-4d03-a516-a1293833cff3" providerId="ADAL" clId="{827F7300-70D8-4B8E-8059-E0A9D709BD6E}" dt="2021-10-18T13:30:03.187" v="6225" actId="20577"/>
        <pc:sldMkLst>
          <pc:docMk/>
          <pc:sldMk cId="2389844200" sldId="2582"/>
        </pc:sldMkLst>
        <pc:spChg chg="mod">
          <ac:chgData name="Gao, Tianyun (SI BP AUT EA PROD)" userId="25b3c3cc-5a46-4d03-a516-a1293833cff3" providerId="ADAL" clId="{827F7300-70D8-4B8E-8059-E0A9D709BD6E}" dt="2021-10-18T13:30:03.187" v="6225" actId="20577"/>
          <ac:spMkLst>
            <pc:docMk/>
            <pc:sldMk cId="2389844200" sldId="2582"/>
            <ac:spMk id="7" creationId="{F1C72932-A1AF-414C-AA2E-197BBE995B80}"/>
          </ac:spMkLst>
        </pc:spChg>
      </pc:sldChg>
      <pc:sldChg chg="addSp modSp mod">
        <pc:chgData name="Gao, Tianyun (SI BP AUT EA PROD)" userId="25b3c3cc-5a46-4d03-a516-a1293833cff3" providerId="ADAL" clId="{827F7300-70D8-4B8E-8059-E0A9D709BD6E}" dt="2021-09-17T07:46:49.138" v="60" actId="207"/>
        <pc:sldMkLst>
          <pc:docMk/>
          <pc:sldMk cId="1402478112" sldId="2583"/>
        </pc:sldMkLst>
        <pc:spChg chg="add mod">
          <ac:chgData name="Gao, Tianyun (SI BP AUT EA PROD)" userId="25b3c3cc-5a46-4d03-a516-a1293833cff3" providerId="ADAL" clId="{827F7300-70D8-4B8E-8059-E0A9D709BD6E}" dt="2021-09-17T07:46:49.138" v="60" actId="207"/>
          <ac:spMkLst>
            <pc:docMk/>
            <pc:sldMk cId="1402478112" sldId="2583"/>
            <ac:spMk id="2" creationId="{93B4ECA4-720E-4C1E-8ACB-BCF3FF7093B8}"/>
          </ac:spMkLst>
        </pc:spChg>
      </pc:sldChg>
      <pc:sldChg chg="addSp modSp mod">
        <pc:chgData name="Gao, Tianyun (SI BP AUT EA PROD)" userId="25b3c3cc-5a46-4d03-a516-a1293833cff3" providerId="ADAL" clId="{827F7300-70D8-4B8E-8059-E0A9D709BD6E}" dt="2021-09-17T07:49:13.419" v="176" actId="14100"/>
        <pc:sldMkLst>
          <pc:docMk/>
          <pc:sldMk cId="2399341281" sldId="2587"/>
        </pc:sldMkLst>
        <pc:spChg chg="add mod">
          <ac:chgData name="Gao, Tianyun (SI BP AUT EA PROD)" userId="25b3c3cc-5a46-4d03-a516-a1293833cff3" providerId="ADAL" clId="{827F7300-70D8-4B8E-8059-E0A9D709BD6E}" dt="2021-09-17T07:49:13.419" v="176" actId="14100"/>
          <ac:spMkLst>
            <pc:docMk/>
            <pc:sldMk cId="2399341281" sldId="2587"/>
            <ac:spMk id="13" creationId="{EBA87134-9715-4A46-B646-1654698415ED}"/>
          </ac:spMkLst>
        </pc:spChg>
      </pc:sldChg>
      <pc:sldChg chg="addSp modSp">
        <pc:chgData name="Gao, Tianyun (SI BP AUT EA PROD)" userId="25b3c3cc-5a46-4d03-a516-a1293833cff3" providerId="ADAL" clId="{827F7300-70D8-4B8E-8059-E0A9D709BD6E}" dt="2021-09-17T08:05:44.693" v="404"/>
        <pc:sldMkLst>
          <pc:docMk/>
          <pc:sldMk cId="3433220361" sldId="2588"/>
        </pc:sldMkLst>
        <pc:spChg chg="add mod">
          <ac:chgData name="Gao, Tianyun (SI BP AUT EA PROD)" userId="25b3c3cc-5a46-4d03-a516-a1293833cff3" providerId="ADAL" clId="{827F7300-70D8-4B8E-8059-E0A9D709BD6E}" dt="2021-09-17T08:05:44.693" v="404"/>
          <ac:spMkLst>
            <pc:docMk/>
            <pc:sldMk cId="3433220361" sldId="2588"/>
            <ac:spMk id="13" creationId="{F596E2A1-805E-40BF-91D7-9C3BC0059ACC}"/>
          </ac:spMkLst>
        </pc:spChg>
      </pc:sldChg>
      <pc:sldChg chg="addSp delSp modSp mod ord">
        <pc:chgData name="Gao, Tianyun (SI BP AUT EA PROD)" userId="25b3c3cc-5a46-4d03-a516-a1293833cff3" providerId="ADAL" clId="{827F7300-70D8-4B8E-8059-E0A9D709BD6E}" dt="2021-10-05T13:42:12.355" v="6216" actId="14100"/>
        <pc:sldMkLst>
          <pc:docMk/>
          <pc:sldMk cId="1645637749" sldId="2589"/>
        </pc:sldMkLst>
        <pc:spChg chg="add mod">
          <ac:chgData name="Gao, Tianyun (SI BP AUT EA PROD)" userId="25b3c3cc-5a46-4d03-a516-a1293833cff3" providerId="ADAL" clId="{827F7300-70D8-4B8E-8059-E0A9D709BD6E}" dt="2021-10-05T13:42:12.355" v="6216" actId="14100"/>
          <ac:spMkLst>
            <pc:docMk/>
            <pc:sldMk cId="1645637749" sldId="2589"/>
            <ac:spMk id="72" creationId="{2EEF17EA-1DC9-4275-BDD0-9F35E1BC00E3}"/>
          </ac:spMkLst>
        </pc:spChg>
        <pc:picChg chg="del">
          <ac:chgData name="Gao, Tianyun (SI BP AUT EA PROD)" userId="25b3c3cc-5a46-4d03-a516-a1293833cff3" providerId="ADAL" clId="{827F7300-70D8-4B8E-8059-E0A9D709BD6E}" dt="2021-09-21T08:54:10.619" v="1764" actId="478"/>
          <ac:picMkLst>
            <pc:docMk/>
            <pc:sldMk cId="1645637749" sldId="2589"/>
            <ac:picMk id="6" creationId="{79037D49-C682-4EFB-99B6-9777C546A47A}"/>
          </ac:picMkLst>
        </pc:picChg>
      </pc:sldChg>
      <pc:sldChg chg="addSp delSp modSp add del mod modShow">
        <pc:chgData name="Gao, Tianyun (SI BP AUT EA PROD)" userId="25b3c3cc-5a46-4d03-a516-a1293833cff3" providerId="ADAL" clId="{827F7300-70D8-4B8E-8059-E0A9D709BD6E}" dt="2021-10-04T20:17:24.229" v="3991" actId="47"/>
        <pc:sldMkLst>
          <pc:docMk/>
          <pc:sldMk cId="3898155149" sldId="2590"/>
        </pc:sldMkLst>
        <pc:spChg chg="mod">
          <ac:chgData name="Gao, Tianyun (SI BP AUT EA PROD)" userId="25b3c3cc-5a46-4d03-a516-a1293833cff3" providerId="ADAL" clId="{827F7300-70D8-4B8E-8059-E0A9D709BD6E}" dt="2021-09-28T08:17:39.656" v="2194" actId="20577"/>
          <ac:spMkLst>
            <pc:docMk/>
            <pc:sldMk cId="3898155149" sldId="2590"/>
            <ac:spMk id="6" creationId="{1A535FC8-8D59-4EDF-8C09-A5FE77F47446}"/>
          </ac:spMkLst>
        </pc:spChg>
        <pc:spChg chg="del">
          <ac:chgData name="Gao, Tianyun (SI BP AUT EA PROD)" userId="25b3c3cc-5a46-4d03-a516-a1293833cff3" providerId="ADAL" clId="{827F7300-70D8-4B8E-8059-E0A9D709BD6E}" dt="2021-09-21T08:06:31.392" v="785" actId="478"/>
          <ac:spMkLst>
            <pc:docMk/>
            <pc:sldMk cId="3898155149" sldId="2590"/>
            <ac:spMk id="15" creationId="{4BEC68C3-0E8D-46F5-B7C0-9CAE60C3D0DD}"/>
          </ac:spMkLst>
        </pc:spChg>
        <pc:spChg chg="del">
          <ac:chgData name="Gao, Tianyun (SI BP AUT EA PROD)" userId="25b3c3cc-5a46-4d03-a516-a1293833cff3" providerId="ADAL" clId="{827F7300-70D8-4B8E-8059-E0A9D709BD6E}" dt="2021-09-21T08:06:31.392" v="785" actId="478"/>
          <ac:spMkLst>
            <pc:docMk/>
            <pc:sldMk cId="3898155149" sldId="2590"/>
            <ac:spMk id="16" creationId="{FF96E5EF-C126-469F-BD41-EB14F2A1B514}"/>
          </ac:spMkLst>
        </pc:spChg>
        <pc:spChg chg="add mod">
          <ac:chgData name="Gao, Tianyun (SI BP AUT EA PROD)" userId="25b3c3cc-5a46-4d03-a516-a1293833cff3" providerId="ADAL" clId="{827F7300-70D8-4B8E-8059-E0A9D709BD6E}" dt="2021-09-28T08:27:54.752" v="2371" actId="20577"/>
          <ac:spMkLst>
            <pc:docMk/>
            <pc:sldMk cId="3898155149" sldId="2590"/>
            <ac:spMk id="22" creationId="{FB205EED-F0AA-4B9A-BDB7-0B9DFC4141B9}"/>
          </ac:spMkLst>
        </pc:spChg>
        <pc:spChg chg="add del mod">
          <ac:chgData name="Gao, Tianyun (SI BP AUT EA PROD)" userId="25b3c3cc-5a46-4d03-a516-a1293833cff3" providerId="ADAL" clId="{827F7300-70D8-4B8E-8059-E0A9D709BD6E}" dt="2021-09-28T08:26:41.248" v="2243"/>
          <ac:spMkLst>
            <pc:docMk/>
            <pc:sldMk cId="3898155149" sldId="2590"/>
            <ac:spMk id="23" creationId="{D57539A4-6B8B-4DF0-B7AF-C84A99F97A31}"/>
          </ac:spMkLst>
        </pc:spChg>
        <pc:spChg chg="add mod">
          <ac:chgData name="Gao, Tianyun (SI BP AUT EA PROD)" userId="25b3c3cc-5a46-4d03-a516-a1293833cff3" providerId="ADAL" clId="{827F7300-70D8-4B8E-8059-E0A9D709BD6E}" dt="2021-09-28T08:27:48.003" v="2366" actId="1076"/>
          <ac:spMkLst>
            <pc:docMk/>
            <pc:sldMk cId="3898155149" sldId="2590"/>
            <ac:spMk id="28" creationId="{BF4ACB7E-BEDC-4E41-B7C1-D32EEF8DB777}"/>
          </ac:spMkLst>
        </pc:spChg>
        <pc:spChg chg="add mod">
          <ac:chgData name="Gao, Tianyun (SI BP AUT EA PROD)" userId="25b3c3cc-5a46-4d03-a516-a1293833cff3" providerId="ADAL" clId="{827F7300-70D8-4B8E-8059-E0A9D709BD6E}" dt="2021-09-28T08:53:43.912" v="2558" actId="14100"/>
          <ac:spMkLst>
            <pc:docMk/>
            <pc:sldMk cId="3898155149" sldId="2590"/>
            <ac:spMk id="29" creationId="{54FC7493-BD82-4508-9A5F-B807EADC2EEF}"/>
          </ac:spMkLst>
        </pc:spChg>
        <pc:spChg chg="del">
          <ac:chgData name="Gao, Tianyun (SI BP AUT EA PROD)" userId="25b3c3cc-5a46-4d03-a516-a1293833cff3" providerId="ADAL" clId="{827F7300-70D8-4B8E-8059-E0A9D709BD6E}" dt="2021-09-21T08:06:28.752" v="784" actId="478"/>
          <ac:spMkLst>
            <pc:docMk/>
            <pc:sldMk cId="3898155149" sldId="2590"/>
            <ac:spMk id="34" creationId="{81A732EB-0226-46F4-A5E7-422ECCDCC993}"/>
          </ac:spMkLst>
        </pc:spChg>
        <pc:spChg chg="del">
          <ac:chgData name="Gao, Tianyun (SI BP AUT EA PROD)" userId="25b3c3cc-5a46-4d03-a516-a1293833cff3" providerId="ADAL" clId="{827F7300-70D8-4B8E-8059-E0A9D709BD6E}" dt="2021-09-21T08:06:28.752" v="784" actId="478"/>
          <ac:spMkLst>
            <pc:docMk/>
            <pc:sldMk cId="3898155149" sldId="2590"/>
            <ac:spMk id="35" creationId="{46515EC4-B996-47D2-9184-FF3A790C5719}"/>
          </ac:spMkLst>
        </pc:spChg>
        <pc:spChg chg="add mod">
          <ac:chgData name="Gao, Tianyun (SI BP AUT EA PROD)" userId="25b3c3cc-5a46-4d03-a516-a1293833cff3" providerId="ADAL" clId="{827F7300-70D8-4B8E-8059-E0A9D709BD6E}" dt="2021-09-28T08:17:45.091" v="2207" actId="20577"/>
          <ac:spMkLst>
            <pc:docMk/>
            <pc:sldMk cId="3898155149" sldId="2590"/>
            <ac:spMk id="36" creationId="{FD9DDC33-E432-400D-97F6-67F8C4A91552}"/>
          </ac:spMkLst>
        </pc:spChg>
        <pc:spChg chg="add mod">
          <ac:chgData name="Gao, Tianyun (SI BP AUT EA PROD)" userId="25b3c3cc-5a46-4d03-a516-a1293833cff3" providerId="ADAL" clId="{827F7300-70D8-4B8E-8059-E0A9D709BD6E}" dt="2021-09-21T08:07:44.725" v="787" actId="1076"/>
          <ac:spMkLst>
            <pc:docMk/>
            <pc:sldMk cId="3898155149" sldId="2590"/>
            <ac:spMk id="38" creationId="{C7393EA7-6091-4FD1-B2AB-7989165CBCDC}"/>
          </ac:spMkLst>
        </pc:spChg>
        <pc:spChg chg="add mod">
          <ac:chgData name="Gao, Tianyun (SI BP AUT EA PROD)" userId="25b3c3cc-5a46-4d03-a516-a1293833cff3" providerId="ADAL" clId="{827F7300-70D8-4B8E-8059-E0A9D709BD6E}" dt="2021-09-21T08:07:44.725" v="787" actId="1076"/>
          <ac:spMkLst>
            <pc:docMk/>
            <pc:sldMk cId="3898155149" sldId="2590"/>
            <ac:spMk id="40" creationId="{E278F5A8-B5FC-461F-B2E4-D0F124969861}"/>
          </ac:spMkLst>
        </pc:spChg>
        <pc:spChg chg="del">
          <ac:chgData name="Gao, Tianyun (SI BP AUT EA PROD)" userId="25b3c3cc-5a46-4d03-a516-a1293833cff3" providerId="ADAL" clId="{827F7300-70D8-4B8E-8059-E0A9D709BD6E}" dt="2021-09-21T08:06:28.752" v="784" actId="478"/>
          <ac:spMkLst>
            <pc:docMk/>
            <pc:sldMk cId="3898155149" sldId="2590"/>
            <ac:spMk id="42" creationId="{5BC229A4-09B0-48F6-BA73-ABC4C9176E38}"/>
          </ac:spMkLst>
        </pc:spChg>
        <pc:spChg chg="del">
          <ac:chgData name="Gao, Tianyun (SI BP AUT EA PROD)" userId="25b3c3cc-5a46-4d03-a516-a1293833cff3" providerId="ADAL" clId="{827F7300-70D8-4B8E-8059-E0A9D709BD6E}" dt="2021-09-21T08:06:28.752" v="784" actId="478"/>
          <ac:spMkLst>
            <pc:docMk/>
            <pc:sldMk cId="3898155149" sldId="2590"/>
            <ac:spMk id="43" creationId="{A887A1D8-6B0F-45AE-A285-BEEB01EDDCE8}"/>
          </ac:spMkLst>
        </pc:spChg>
        <pc:spChg chg="add mod">
          <ac:chgData name="Gao, Tianyun (SI BP AUT EA PROD)" userId="25b3c3cc-5a46-4d03-a516-a1293833cff3" providerId="ADAL" clId="{827F7300-70D8-4B8E-8059-E0A9D709BD6E}" dt="2021-09-28T08:27:25.649" v="2324" actId="20577"/>
          <ac:spMkLst>
            <pc:docMk/>
            <pc:sldMk cId="3898155149" sldId="2590"/>
            <ac:spMk id="45" creationId="{02EB833C-01B4-41EF-A5DB-0FF886ED5134}"/>
          </ac:spMkLst>
        </pc:spChg>
        <pc:spChg chg="add mod">
          <ac:chgData name="Gao, Tianyun (SI BP AUT EA PROD)" userId="25b3c3cc-5a46-4d03-a516-a1293833cff3" providerId="ADAL" clId="{827F7300-70D8-4B8E-8059-E0A9D709BD6E}" dt="2021-09-21T08:12:23.010" v="969" actId="1076"/>
          <ac:spMkLst>
            <pc:docMk/>
            <pc:sldMk cId="3898155149" sldId="2590"/>
            <ac:spMk id="46" creationId="{9C652C4C-DFF0-49DC-A4B0-EAB90E9D9B51}"/>
          </ac:spMkLst>
        </pc:spChg>
        <pc:spChg chg="add mod">
          <ac:chgData name="Gao, Tianyun (SI BP AUT EA PROD)" userId="25b3c3cc-5a46-4d03-a516-a1293833cff3" providerId="ADAL" clId="{827F7300-70D8-4B8E-8059-E0A9D709BD6E}" dt="2021-09-21T08:13:33.893" v="975"/>
          <ac:spMkLst>
            <pc:docMk/>
            <pc:sldMk cId="3898155149" sldId="2590"/>
            <ac:spMk id="47" creationId="{076FFA93-C14D-4341-A934-EA8344B81585}"/>
          </ac:spMkLst>
        </pc:spChg>
        <pc:spChg chg="mod">
          <ac:chgData name="Gao, Tianyun (SI BP AUT EA PROD)" userId="25b3c3cc-5a46-4d03-a516-a1293833cff3" providerId="ADAL" clId="{827F7300-70D8-4B8E-8059-E0A9D709BD6E}" dt="2021-09-28T08:53:04.014" v="2461" actId="20577"/>
          <ac:spMkLst>
            <pc:docMk/>
            <pc:sldMk cId="3898155149" sldId="2590"/>
            <ac:spMk id="63" creationId="{AE27FEA4-90ED-486C-9851-ECD20DF848CD}"/>
          </ac:spMkLst>
        </pc:spChg>
        <pc:spChg chg="del">
          <ac:chgData name="Gao, Tianyun (SI BP AUT EA PROD)" userId="25b3c3cc-5a46-4d03-a516-a1293833cff3" providerId="ADAL" clId="{827F7300-70D8-4B8E-8059-E0A9D709BD6E}" dt="2021-09-21T08:13:33.312" v="974" actId="478"/>
          <ac:spMkLst>
            <pc:docMk/>
            <pc:sldMk cId="3898155149" sldId="2590"/>
            <ac:spMk id="64" creationId="{EC21F4FD-94C5-4E9E-96B5-42331739CA26}"/>
          </ac:spMkLst>
        </pc:spChg>
        <pc:grpChg chg="del">
          <ac:chgData name="Gao, Tianyun (SI BP AUT EA PROD)" userId="25b3c3cc-5a46-4d03-a516-a1293833cff3" providerId="ADAL" clId="{827F7300-70D8-4B8E-8059-E0A9D709BD6E}" dt="2021-09-21T08:06:28.752" v="784" actId="478"/>
          <ac:grpSpMkLst>
            <pc:docMk/>
            <pc:sldMk cId="3898155149" sldId="2590"/>
            <ac:grpSpMk id="33" creationId="{E52710A8-859F-48C8-8720-20F793306235}"/>
          </ac:grpSpMkLst>
        </pc:grpChg>
        <pc:grpChg chg="del">
          <ac:chgData name="Gao, Tianyun (SI BP AUT EA PROD)" userId="25b3c3cc-5a46-4d03-a516-a1293833cff3" providerId="ADAL" clId="{827F7300-70D8-4B8E-8059-E0A9D709BD6E}" dt="2021-09-21T08:06:28.752" v="784" actId="478"/>
          <ac:grpSpMkLst>
            <pc:docMk/>
            <pc:sldMk cId="3898155149" sldId="2590"/>
            <ac:grpSpMk id="37" creationId="{8302EE92-3B07-4C9B-9409-77C2EAAE5C17}"/>
          </ac:grpSpMkLst>
        </pc:grpChg>
        <pc:graphicFrameChg chg="add mod">
          <ac:chgData name="Gao, Tianyun (SI BP AUT EA PROD)" userId="25b3c3cc-5a46-4d03-a516-a1293833cff3" providerId="ADAL" clId="{827F7300-70D8-4B8E-8059-E0A9D709BD6E}" dt="2021-09-21T08:07:44.725" v="787" actId="1076"/>
          <ac:graphicFrameMkLst>
            <pc:docMk/>
            <pc:sldMk cId="3898155149" sldId="2590"/>
            <ac:graphicFrameMk id="44" creationId="{96F33148-7B3A-4342-9E82-D5B8B44CEF9D}"/>
          </ac:graphicFrameMkLst>
        </pc:graphicFrameChg>
        <pc:picChg chg="del">
          <ac:chgData name="Gao, Tianyun (SI BP AUT EA PROD)" userId="25b3c3cc-5a46-4d03-a516-a1293833cff3" providerId="ADAL" clId="{827F7300-70D8-4B8E-8059-E0A9D709BD6E}" dt="2021-09-21T08:06:28.752" v="784" actId="478"/>
          <ac:picMkLst>
            <pc:docMk/>
            <pc:sldMk cId="3898155149" sldId="2590"/>
            <ac:picMk id="30" creationId="{54EC3DA9-24E0-4136-A36C-4B9B3CB9F662}"/>
          </ac:picMkLst>
        </pc:picChg>
        <pc:picChg chg="del">
          <ac:chgData name="Gao, Tianyun (SI BP AUT EA PROD)" userId="25b3c3cc-5a46-4d03-a516-a1293833cff3" providerId="ADAL" clId="{827F7300-70D8-4B8E-8059-E0A9D709BD6E}" dt="2021-09-21T08:06:28.752" v="784" actId="478"/>
          <ac:picMkLst>
            <pc:docMk/>
            <pc:sldMk cId="3898155149" sldId="2590"/>
            <ac:picMk id="39" creationId="{773811A9-F592-4045-BD15-6E1229E1DB94}"/>
          </ac:picMkLst>
        </pc:picChg>
        <pc:picChg chg="del">
          <ac:chgData name="Gao, Tianyun (SI BP AUT EA PROD)" userId="25b3c3cc-5a46-4d03-a516-a1293833cff3" providerId="ADAL" clId="{827F7300-70D8-4B8E-8059-E0A9D709BD6E}" dt="2021-09-21T08:06:28.752" v="784" actId="478"/>
          <ac:picMkLst>
            <pc:docMk/>
            <pc:sldMk cId="3898155149" sldId="2590"/>
            <ac:picMk id="41" creationId="{0E28BF95-D99B-4D67-9693-E0E4A7D31630}"/>
          </ac:picMkLst>
        </pc:picChg>
        <pc:cxnChg chg="add">
          <ac:chgData name="Gao, Tianyun (SI BP AUT EA PROD)" userId="25b3c3cc-5a46-4d03-a516-a1293833cff3" providerId="ADAL" clId="{827F7300-70D8-4B8E-8059-E0A9D709BD6E}" dt="2021-09-21T08:07:59.896" v="788" actId="11529"/>
          <ac:cxnSpMkLst>
            <pc:docMk/>
            <pc:sldMk cId="3898155149" sldId="2590"/>
            <ac:cxnSpMk id="4" creationId="{0C409B95-9A5F-47DA-8818-EEA548FC5366}"/>
          </ac:cxnSpMkLst>
        </pc:cxnChg>
        <pc:cxnChg chg="add">
          <ac:chgData name="Gao, Tianyun (SI BP AUT EA PROD)" userId="25b3c3cc-5a46-4d03-a516-a1293833cff3" providerId="ADAL" clId="{827F7300-70D8-4B8E-8059-E0A9D709BD6E}" dt="2021-09-21T08:08:07.120" v="789" actId="11529"/>
          <ac:cxnSpMkLst>
            <pc:docMk/>
            <pc:sldMk cId="3898155149" sldId="2590"/>
            <ac:cxnSpMk id="9" creationId="{9D9974C2-E83C-4FFD-9D8D-A91EA71444CF}"/>
          </ac:cxnSpMkLst>
        </pc:cxnChg>
        <pc:cxnChg chg="add mod">
          <ac:chgData name="Gao, Tianyun (SI BP AUT EA PROD)" userId="25b3c3cc-5a46-4d03-a516-a1293833cff3" providerId="ADAL" clId="{827F7300-70D8-4B8E-8059-E0A9D709BD6E}" dt="2021-09-28T08:17:30.949" v="2182" actId="1076"/>
          <ac:cxnSpMkLst>
            <pc:docMk/>
            <pc:sldMk cId="3898155149" sldId="2590"/>
            <ac:cxnSpMk id="19" creationId="{71C5E728-8F76-49BE-8858-F9D254CC8C63}"/>
          </ac:cxnSpMkLst>
        </pc:cxnChg>
        <pc:cxnChg chg="add del mod">
          <ac:chgData name="Gao, Tianyun (SI BP AUT EA PROD)" userId="25b3c3cc-5a46-4d03-a516-a1293833cff3" providerId="ADAL" clId="{827F7300-70D8-4B8E-8059-E0A9D709BD6E}" dt="2021-09-28T08:19:18.826" v="2213" actId="478"/>
          <ac:cxnSpMkLst>
            <pc:docMk/>
            <pc:sldMk cId="3898155149" sldId="2590"/>
            <ac:cxnSpMk id="20" creationId="{8E406949-01C0-4774-BD74-EC5AE944B647}"/>
          </ac:cxnSpMkLst>
        </pc:cxnChg>
        <pc:cxnChg chg="add del mod">
          <ac:chgData name="Gao, Tianyun (SI BP AUT EA PROD)" userId="25b3c3cc-5a46-4d03-a516-a1293833cff3" providerId="ADAL" clId="{827F7300-70D8-4B8E-8059-E0A9D709BD6E}" dt="2021-09-28T08:19:16.772" v="2212" actId="478"/>
          <ac:cxnSpMkLst>
            <pc:docMk/>
            <pc:sldMk cId="3898155149" sldId="2590"/>
            <ac:cxnSpMk id="21" creationId="{A91E4CF1-F6E9-47BF-9A5E-F7B20C2A3DAE}"/>
          </ac:cxnSpMkLst>
        </pc:cxnChg>
        <pc:cxnChg chg="add mod">
          <ac:chgData name="Gao, Tianyun (SI BP AUT EA PROD)" userId="25b3c3cc-5a46-4d03-a516-a1293833cff3" providerId="ADAL" clId="{827F7300-70D8-4B8E-8059-E0A9D709BD6E}" dt="2021-09-28T08:26:47.215" v="2256" actId="1037"/>
          <ac:cxnSpMkLst>
            <pc:docMk/>
            <pc:sldMk cId="3898155149" sldId="2590"/>
            <ac:cxnSpMk id="24" creationId="{C0E193D6-DEA4-4F5E-B6DF-EE02480CD1FE}"/>
          </ac:cxnSpMkLst>
        </pc:cxnChg>
        <pc:cxnChg chg="add">
          <ac:chgData name="Gao, Tianyun (SI BP AUT EA PROD)" userId="25b3c3cc-5a46-4d03-a516-a1293833cff3" providerId="ADAL" clId="{827F7300-70D8-4B8E-8059-E0A9D709BD6E}" dt="2021-09-21T08:08:57.663" v="790" actId="11529"/>
          <ac:cxnSpMkLst>
            <pc:docMk/>
            <pc:sldMk cId="3898155149" sldId="2590"/>
            <ac:cxnSpMk id="25" creationId="{3B8296DE-8FF1-4056-8182-C2E3CD060EBC}"/>
          </ac:cxnSpMkLst>
        </pc:cxnChg>
        <pc:cxnChg chg="add mod">
          <ac:chgData name="Gao, Tianyun (SI BP AUT EA PROD)" userId="25b3c3cc-5a46-4d03-a516-a1293833cff3" providerId="ADAL" clId="{827F7300-70D8-4B8E-8059-E0A9D709BD6E}" dt="2021-09-28T08:26:54.439" v="2258" actId="1076"/>
          <ac:cxnSpMkLst>
            <pc:docMk/>
            <pc:sldMk cId="3898155149" sldId="2590"/>
            <ac:cxnSpMk id="27" creationId="{852BD1F3-1136-4220-BB86-BA78B05A1141}"/>
          </ac:cxnSpMkLst>
        </pc:cxnChg>
      </pc:sldChg>
      <pc:sldChg chg="addSp delSp modSp add mod ord">
        <pc:chgData name="Gao, Tianyun (SI BP AUT EA PROD)" userId="25b3c3cc-5a46-4d03-a516-a1293833cff3" providerId="ADAL" clId="{827F7300-70D8-4B8E-8059-E0A9D709BD6E}" dt="2021-10-04T20:39:22.792" v="4216" actId="1076"/>
        <pc:sldMkLst>
          <pc:docMk/>
          <pc:sldMk cId="3681144688" sldId="2591"/>
        </pc:sldMkLst>
        <pc:spChg chg="mod">
          <ac:chgData name="Gao, Tianyun (SI BP AUT EA PROD)" userId="25b3c3cc-5a46-4d03-a516-a1293833cff3" providerId="ADAL" clId="{827F7300-70D8-4B8E-8059-E0A9D709BD6E}" dt="2021-10-04T20:39:22.792" v="4216" actId="1076"/>
          <ac:spMkLst>
            <pc:docMk/>
            <pc:sldMk cId="3681144688" sldId="2591"/>
            <ac:spMk id="3" creationId="{50E17820-B62F-4719-80D9-FEC26EF1D72C}"/>
          </ac:spMkLst>
        </pc:spChg>
        <pc:spChg chg="mod">
          <ac:chgData name="Gao, Tianyun (SI BP AUT EA PROD)" userId="25b3c3cc-5a46-4d03-a516-a1293833cff3" providerId="ADAL" clId="{827F7300-70D8-4B8E-8059-E0A9D709BD6E}" dt="2021-09-28T09:03:33.610" v="2713" actId="20577"/>
          <ac:spMkLst>
            <pc:docMk/>
            <pc:sldMk cId="3681144688" sldId="2591"/>
            <ac:spMk id="76" creationId="{17BB12BD-1EA4-4D04-A0E0-80A90B0D552B}"/>
          </ac:spMkLst>
        </pc:spChg>
        <pc:spChg chg="add del mod">
          <ac:chgData name="Gao, Tianyun (SI BP AUT EA PROD)" userId="25b3c3cc-5a46-4d03-a516-a1293833cff3" providerId="ADAL" clId="{827F7300-70D8-4B8E-8059-E0A9D709BD6E}" dt="2021-09-21T08:27:12.422" v="1381" actId="1076"/>
          <ac:spMkLst>
            <pc:docMk/>
            <pc:sldMk cId="3681144688" sldId="2591"/>
            <ac:spMk id="77" creationId="{66B7AC1D-FE90-44B8-AAA0-8B6605742DE4}"/>
          </ac:spMkLst>
        </pc:spChg>
      </pc:sldChg>
      <pc:sldChg chg="modSp add del mod">
        <pc:chgData name="Gao, Tianyun (SI BP AUT EA PROD)" userId="25b3c3cc-5a46-4d03-a516-a1293833cff3" providerId="ADAL" clId="{827F7300-70D8-4B8E-8059-E0A9D709BD6E}" dt="2021-09-21T08:11:48.077" v="895" actId="47"/>
        <pc:sldMkLst>
          <pc:docMk/>
          <pc:sldMk cId="3997084423" sldId="2591"/>
        </pc:sldMkLst>
        <pc:spChg chg="mod">
          <ac:chgData name="Gao, Tianyun (SI BP AUT EA PROD)" userId="25b3c3cc-5a46-4d03-a516-a1293833cff3" providerId="ADAL" clId="{827F7300-70D8-4B8E-8059-E0A9D709BD6E}" dt="2021-09-21T08:11:19.770" v="894" actId="1076"/>
          <ac:spMkLst>
            <pc:docMk/>
            <pc:sldMk cId="3997084423" sldId="2591"/>
            <ac:spMk id="45" creationId="{02EB833C-01B4-41EF-A5DB-0FF886ED5134}"/>
          </ac:spMkLst>
        </pc:spChg>
      </pc:sldChg>
      <pc:sldChg chg="add del">
        <pc:chgData name="Gao, Tianyun (SI BP AUT EA PROD)" userId="25b3c3cc-5a46-4d03-a516-a1293833cff3" providerId="ADAL" clId="{827F7300-70D8-4B8E-8059-E0A9D709BD6E}" dt="2021-09-21T08:44:03.632" v="1701" actId="47"/>
        <pc:sldMkLst>
          <pc:docMk/>
          <pc:sldMk cId="3755801924" sldId="2592"/>
        </pc:sldMkLst>
      </pc:sldChg>
      <pc:sldChg chg="addSp delSp modSp add mod">
        <pc:chgData name="Gao, Tianyun (SI BP AUT EA PROD)" userId="25b3c3cc-5a46-4d03-a516-a1293833cff3" providerId="ADAL" clId="{827F7300-70D8-4B8E-8059-E0A9D709BD6E}" dt="2021-10-05T13:26:26.533" v="5335" actId="1076"/>
        <pc:sldMkLst>
          <pc:docMk/>
          <pc:sldMk cId="709573458" sldId="2593"/>
        </pc:sldMkLst>
        <pc:spChg chg="mod">
          <ac:chgData name="Gao, Tianyun (SI BP AUT EA PROD)" userId="25b3c3cc-5a46-4d03-a516-a1293833cff3" providerId="ADAL" clId="{827F7300-70D8-4B8E-8059-E0A9D709BD6E}" dt="2021-10-05T13:19:32.750" v="5171" actId="20577"/>
          <ac:spMkLst>
            <pc:docMk/>
            <pc:sldMk cId="709573458" sldId="2593"/>
            <ac:spMk id="3" creationId="{50E17820-B62F-4719-80D9-FEC26EF1D72C}"/>
          </ac:spMkLst>
        </pc:spChg>
        <pc:spChg chg="del">
          <ac:chgData name="Gao, Tianyun (SI BP AUT EA PROD)" userId="25b3c3cc-5a46-4d03-a516-a1293833cff3" providerId="ADAL" clId="{827F7300-70D8-4B8E-8059-E0A9D709BD6E}" dt="2021-10-05T13:24:49.220" v="5197" actId="21"/>
          <ac:spMkLst>
            <pc:docMk/>
            <pc:sldMk cId="709573458" sldId="2593"/>
            <ac:spMk id="14" creationId="{462A4F4B-86F1-47A5-AEED-D8506D9714E6}"/>
          </ac:spMkLst>
        </pc:spChg>
        <pc:spChg chg="del mod">
          <ac:chgData name="Gao, Tianyun (SI BP AUT EA PROD)" userId="25b3c3cc-5a46-4d03-a516-a1293833cff3" providerId="ADAL" clId="{827F7300-70D8-4B8E-8059-E0A9D709BD6E}" dt="2021-10-05T13:21:58.548" v="5187" actId="21"/>
          <ac:spMkLst>
            <pc:docMk/>
            <pc:sldMk cId="709573458" sldId="2593"/>
            <ac:spMk id="20" creationId="{F6D67B1C-7BB0-47C0-9439-F4629C74AC7A}"/>
          </ac:spMkLst>
        </pc:spChg>
        <pc:spChg chg="add mod">
          <ac:chgData name="Gao, Tianyun (SI BP AUT EA PROD)" userId="25b3c3cc-5a46-4d03-a516-a1293833cff3" providerId="ADAL" clId="{827F7300-70D8-4B8E-8059-E0A9D709BD6E}" dt="2021-09-21T08:43:51.272" v="1700"/>
          <ac:spMkLst>
            <pc:docMk/>
            <pc:sldMk cId="709573458" sldId="2593"/>
            <ac:spMk id="21" creationId="{16C20B78-453B-48E3-936C-1402AB53761D}"/>
          </ac:spMkLst>
        </pc:spChg>
        <pc:spChg chg="mod">
          <ac:chgData name="Gao, Tianyun (SI BP AUT EA PROD)" userId="25b3c3cc-5a46-4d03-a516-a1293833cff3" providerId="ADAL" clId="{827F7300-70D8-4B8E-8059-E0A9D709BD6E}" dt="2021-10-05T13:19:28.880" v="5159" actId="20577"/>
          <ac:spMkLst>
            <pc:docMk/>
            <pc:sldMk cId="709573458" sldId="2593"/>
            <ac:spMk id="40" creationId="{71539A82-79B2-499B-9746-9069D4C5507A}"/>
          </ac:spMkLst>
        </pc:spChg>
        <pc:spChg chg="del">
          <ac:chgData name="Gao, Tianyun (SI BP AUT EA PROD)" userId="25b3c3cc-5a46-4d03-a516-a1293833cff3" providerId="ADAL" clId="{827F7300-70D8-4B8E-8059-E0A9D709BD6E}" dt="2021-09-21T08:43:50.467" v="1699" actId="478"/>
          <ac:spMkLst>
            <pc:docMk/>
            <pc:sldMk cId="709573458" sldId="2593"/>
            <ac:spMk id="41" creationId="{335877AB-F692-484D-97CF-7BD8D93BDD96}"/>
          </ac:spMkLst>
        </pc:spChg>
        <pc:grpChg chg="mod">
          <ac:chgData name="Gao, Tianyun (SI BP AUT EA PROD)" userId="25b3c3cc-5a46-4d03-a516-a1293833cff3" providerId="ADAL" clId="{827F7300-70D8-4B8E-8059-E0A9D709BD6E}" dt="2021-10-05T13:26:26.533" v="5335" actId="1076"/>
          <ac:grpSpMkLst>
            <pc:docMk/>
            <pc:sldMk cId="709573458" sldId="2593"/>
            <ac:grpSpMk id="15" creationId="{622F59AA-C1CB-46A1-AA1C-D70CEFB02AAE}"/>
          </ac:grpSpMkLst>
        </pc:grpChg>
        <pc:picChg chg="del">
          <ac:chgData name="Gao, Tianyun (SI BP AUT EA PROD)" userId="25b3c3cc-5a46-4d03-a516-a1293833cff3" providerId="ADAL" clId="{827F7300-70D8-4B8E-8059-E0A9D709BD6E}" dt="2021-10-05T13:20:41.675" v="5172" actId="478"/>
          <ac:picMkLst>
            <pc:docMk/>
            <pc:sldMk cId="709573458" sldId="2593"/>
            <ac:picMk id="7" creationId="{0CFA822A-CE6B-45F8-B0CF-1DCBC176D0A7}"/>
          </ac:picMkLst>
        </pc:picChg>
        <pc:picChg chg="add mod">
          <ac:chgData name="Gao, Tianyun (SI BP AUT EA PROD)" userId="25b3c3cc-5a46-4d03-a516-a1293833cff3" providerId="ADAL" clId="{827F7300-70D8-4B8E-8059-E0A9D709BD6E}" dt="2021-10-05T13:26:26.533" v="5335" actId="1076"/>
          <ac:picMkLst>
            <pc:docMk/>
            <pc:sldMk cId="709573458" sldId="2593"/>
            <ac:picMk id="10" creationId="{D7000CD7-AE8E-4D3B-83AA-9A77DD38B160}"/>
          </ac:picMkLst>
        </pc:picChg>
        <pc:picChg chg="mod">
          <ac:chgData name="Gao, Tianyun (SI BP AUT EA PROD)" userId="25b3c3cc-5a46-4d03-a516-a1293833cff3" providerId="ADAL" clId="{827F7300-70D8-4B8E-8059-E0A9D709BD6E}" dt="2021-10-05T13:26:26.533" v="5335" actId="1076"/>
          <ac:picMkLst>
            <pc:docMk/>
            <pc:sldMk cId="709573458" sldId="2593"/>
            <ac:picMk id="18" creationId="{1F091D5C-073C-4479-8E6A-FC66DD6A76F3}"/>
          </ac:picMkLst>
        </pc:picChg>
        <pc:cxnChg chg="del">
          <ac:chgData name="Gao, Tianyun (SI BP AUT EA PROD)" userId="25b3c3cc-5a46-4d03-a516-a1293833cff3" providerId="ADAL" clId="{827F7300-70D8-4B8E-8059-E0A9D709BD6E}" dt="2021-10-05T13:21:03.833" v="5176" actId="478"/>
          <ac:cxnSpMkLst>
            <pc:docMk/>
            <pc:sldMk cId="709573458" sldId="2593"/>
            <ac:cxnSpMk id="8" creationId="{BE2FAAE5-58A3-4DDF-A84D-D139284C1D3F}"/>
          </ac:cxnSpMkLst>
        </pc:cxnChg>
        <pc:cxnChg chg="del">
          <ac:chgData name="Gao, Tianyun (SI BP AUT EA PROD)" userId="25b3c3cc-5a46-4d03-a516-a1293833cff3" providerId="ADAL" clId="{827F7300-70D8-4B8E-8059-E0A9D709BD6E}" dt="2021-10-05T13:21:08.148" v="5178" actId="478"/>
          <ac:cxnSpMkLst>
            <pc:docMk/>
            <pc:sldMk cId="709573458" sldId="2593"/>
            <ac:cxnSpMk id="9" creationId="{777E404C-84E8-4FB2-A19C-6CDEDCCCC161}"/>
          </ac:cxnSpMkLst>
        </pc:cxnChg>
        <pc:cxnChg chg="del">
          <ac:chgData name="Gao, Tianyun (SI BP AUT EA PROD)" userId="25b3c3cc-5a46-4d03-a516-a1293833cff3" providerId="ADAL" clId="{827F7300-70D8-4B8E-8059-E0A9D709BD6E}" dt="2021-10-05T13:21:06.083" v="5177" actId="478"/>
          <ac:cxnSpMkLst>
            <pc:docMk/>
            <pc:sldMk cId="709573458" sldId="2593"/>
            <ac:cxnSpMk id="11" creationId="{F81641E5-A87C-4B7F-BF7C-3C2244EA6C95}"/>
          </ac:cxnSpMkLst>
        </pc:cxnChg>
        <pc:cxnChg chg="mod">
          <ac:chgData name="Gao, Tianyun (SI BP AUT EA PROD)" userId="25b3c3cc-5a46-4d03-a516-a1293833cff3" providerId="ADAL" clId="{827F7300-70D8-4B8E-8059-E0A9D709BD6E}" dt="2021-10-05T13:26:26.533" v="5335" actId="1076"/>
          <ac:cxnSpMkLst>
            <pc:docMk/>
            <pc:sldMk cId="709573458" sldId="2593"/>
            <ac:cxnSpMk id="19" creationId="{36C08AFF-3774-4B00-99AD-93DE75F38142}"/>
          </ac:cxnSpMkLst>
        </pc:cxnChg>
      </pc:sldChg>
      <pc:sldChg chg="addSp delSp modSp add del mod modShow">
        <pc:chgData name="Gao, Tianyun (SI BP AUT EA PROD)" userId="25b3c3cc-5a46-4d03-a516-a1293833cff3" providerId="ADAL" clId="{827F7300-70D8-4B8E-8059-E0A9D709BD6E}" dt="2021-10-04T20:17:22.634" v="3990" actId="47"/>
        <pc:sldMkLst>
          <pc:docMk/>
          <pc:sldMk cId="3654234292" sldId="2594"/>
        </pc:sldMkLst>
        <pc:spChg chg="mod">
          <ac:chgData name="Gao, Tianyun (SI BP AUT EA PROD)" userId="25b3c3cc-5a46-4d03-a516-a1293833cff3" providerId="ADAL" clId="{827F7300-70D8-4B8E-8059-E0A9D709BD6E}" dt="2021-09-28T08:30:39.259" v="2384" actId="20577"/>
          <ac:spMkLst>
            <pc:docMk/>
            <pc:sldMk cId="3654234292" sldId="2594"/>
            <ac:spMk id="6" creationId="{1A535FC8-8D59-4EDF-8C09-A5FE77F47446}"/>
          </ac:spMkLst>
        </pc:spChg>
        <pc:spChg chg="mod">
          <ac:chgData name="Gao, Tianyun (SI BP AUT EA PROD)" userId="25b3c3cc-5a46-4d03-a516-a1293833cff3" providerId="ADAL" clId="{827F7300-70D8-4B8E-8059-E0A9D709BD6E}" dt="2021-09-28T08:39:17.913" v="2434" actId="1076"/>
          <ac:spMkLst>
            <pc:docMk/>
            <pc:sldMk cId="3654234292" sldId="2594"/>
            <ac:spMk id="22" creationId="{FB205EED-F0AA-4B9A-BDB7-0B9DFC4141B9}"/>
          </ac:spMkLst>
        </pc:spChg>
        <pc:spChg chg="add del mod">
          <ac:chgData name="Gao, Tianyun (SI BP AUT EA PROD)" userId="25b3c3cc-5a46-4d03-a516-a1293833cff3" providerId="ADAL" clId="{827F7300-70D8-4B8E-8059-E0A9D709BD6E}" dt="2021-09-28T08:44:11.452" v="2439" actId="478"/>
          <ac:spMkLst>
            <pc:docMk/>
            <pc:sldMk cId="3654234292" sldId="2594"/>
            <ac:spMk id="29" creationId="{FFEB87C8-85C0-4BBC-89AA-A3450E5437AA}"/>
          </ac:spMkLst>
        </pc:spChg>
        <pc:spChg chg="add del mod">
          <ac:chgData name="Gao, Tianyun (SI BP AUT EA PROD)" userId="25b3c3cc-5a46-4d03-a516-a1293833cff3" providerId="ADAL" clId="{827F7300-70D8-4B8E-8059-E0A9D709BD6E}" dt="2021-09-28T09:00:15.329" v="2569" actId="21"/>
          <ac:spMkLst>
            <pc:docMk/>
            <pc:sldMk cId="3654234292" sldId="2594"/>
            <ac:spMk id="34" creationId="{D79D2182-7373-43A9-8881-7017968F8B83}"/>
          </ac:spMkLst>
        </pc:spChg>
        <pc:spChg chg="mod">
          <ac:chgData name="Gao, Tianyun (SI BP AUT EA PROD)" userId="25b3c3cc-5a46-4d03-a516-a1293833cff3" providerId="ADAL" clId="{827F7300-70D8-4B8E-8059-E0A9D709BD6E}" dt="2021-09-28T08:30:45.164" v="2396" actId="20577"/>
          <ac:spMkLst>
            <pc:docMk/>
            <pc:sldMk cId="3654234292" sldId="2594"/>
            <ac:spMk id="36" creationId="{FD9DDC33-E432-400D-97F6-67F8C4A91552}"/>
          </ac:spMkLst>
        </pc:spChg>
        <pc:spChg chg="mod">
          <ac:chgData name="Gao, Tianyun (SI BP AUT EA PROD)" userId="25b3c3cc-5a46-4d03-a516-a1293833cff3" providerId="ADAL" clId="{827F7300-70D8-4B8E-8059-E0A9D709BD6E}" dt="2021-09-28T08:30:50.433" v="2402" actId="20577"/>
          <ac:spMkLst>
            <pc:docMk/>
            <pc:sldMk cId="3654234292" sldId="2594"/>
            <ac:spMk id="63" creationId="{AE27FEA4-90ED-486C-9851-ECD20DF848CD}"/>
          </ac:spMkLst>
        </pc:spChg>
        <pc:cxnChg chg="add mod">
          <ac:chgData name="Gao, Tianyun (SI BP AUT EA PROD)" userId="25b3c3cc-5a46-4d03-a516-a1293833cff3" providerId="ADAL" clId="{827F7300-70D8-4B8E-8059-E0A9D709BD6E}" dt="2021-09-28T08:43:59.766" v="2438" actId="1076"/>
          <ac:cxnSpMkLst>
            <pc:docMk/>
            <pc:sldMk cId="3654234292" sldId="2594"/>
            <ac:cxnSpMk id="30" creationId="{05EFCB57-5021-4A1C-88C9-31F03F7655A1}"/>
          </ac:cxnSpMkLst>
        </pc:cxnChg>
        <pc:cxnChg chg="add mod">
          <ac:chgData name="Gao, Tianyun (SI BP AUT EA PROD)" userId="25b3c3cc-5a46-4d03-a516-a1293833cff3" providerId="ADAL" clId="{827F7300-70D8-4B8E-8059-E0A9D709BD6E}" dt="2021-09-28T08:44:16.499" v="2441" actId="1076"/>
          <ac:cxnSpMkLst>
            <pc:docMk/>
            <pc:sldMk cId="3654234292" sldId="2594"/>
            <ac:cxnSpMk id="31" creationId="{4F31A8C7-E7A9-44A9-A1C2-8D61762E3F10}"/>
          </ac:cxnSpMkLst>
        </pc:cxnChg>
        <pc:cxnChg chg="add mod">
          <ac:chgData name="Gao, Tianyun (SI BP AUT EA PROD)" userId="25b3c3cc-5a46-4d03-a516-a1293833cff3" providerId="ADAL" clId="{827F7300-70D8-4B8E-8059-E0A9D709BD6E}" dt="2021-09-28T08:44:27.889" v="2443" actId="1076"/>
          <ac:cxnSpMkLst>
            <pc:docMk/>
            <pc:sldMk cId="3654234292" sldId="2594"/>
            <ac:cxnSpMk id="32" creationId="{EAFD9630-373A-4EAB-B69C-B160427656E1}"/>
          </ac:cxnSpMkLst>
        </pc:cxnChg>
        <pc:cxnChg chg="add mod">
          <ac:chgData name="Gao, Tianyun (SI BP AUT EA PROD)" userId="25b3c3cc-5a46-4d03-a516-a1293833cff3" providerId="ADAL" clId="{827F7300-70D8-4B8E-8059-E0A9D709BD6E}" dt="2021-09-28T08:44:33.170" v="2445" actId="1076"/>
          <ac:cxnSpMkLst>
            <pc:docMk/>
            <pc:sldMk cId="3654234292" sldId="2594"/>
            <ac:cxnSpMk id="33" creationId="{0E1DF6A8-4AFF-43C9-8538-3711A0B27174}"/>
          </ac:cxnSpMkLst>
        </pc:cxnChg>
      </pc:sldChg>
      <pc:sldChg chg="add del">
        <pc:chgData name="Gao, Tianyun (SI BP AUT EA PROD)" userId="25b3c3cc-5a46-4d03-a516-a1293833cff3" providerId="ADAL" clId="{827F7300-70D8-4B8E-8059-E0A9D709BD6E}" dt="2021-09-28T08:52:21.361" v="2447" actId="47"/>
        <pc:sldMkLst>
          <pc:docMk/>
          <pc:sldMk cId="3849291328" sldId="2595"/>
        </pc:sldMkLst>
      </pc:sldChg>
      <pc:sldChg chg="addSp delSp modSp new mod">
        <pc:chgData name="Gao, Tianyun (SI BP AUT EA PROD)" userId="25b3c3cc-5a46-4d03-a516-a1293833cff3" providerId="ADAL" clId="{827F7300-70D8-4B8E-8059-E0A9D709BD6E}" dt="2021-10-05T13:23:09.914" v="5196" actId="20577"/>
        <pc:sldMkLst>
          <pc:docMk/>
          <pc:sldMk cId="4120696066" sldId="2595"/>
        </pc:sldMkLst>
        <pc:spChg chg="del">
          <ac:chgData name="Gao, Tianyun (SI BP AUT EA PROD)" userId="25b3c3cc-5a46-4d03-a516-a1293833cff3" providerId="ADAL" clId="{827F7300-70D8-4B8E-8059-E0A9D709BD6E}" dt="2021-09-28T08:59:33.296" v="2562" actId="478"/>
          <ac:spMkLst>
            <pc:docMk/>
            <pc:sldMk cId="4120696066" sldId="2595"/>
            <ac:spMk id="3" creationId="{C2DF1223-62FE-4063-BBB9-30864197E5FF}"/>
          </ac:spMkLst>
        </pc:spChg>
        <pc:spChg chg="del">
          <ac:chgData name="Gao, Tianyun (SI BP AUT EA PROD)" userId="25b3c3cc-5a46-4d03-a516-a1293833cff3" providerId="ADAL" clId="{827F7300-70D8-4B8E-8059-E0A9D709BD6E}" dt="2021-09-28T08:59:33.296" v="2562" actId="478"/>
          <ac:spMkLst>
            <pc:docMk/>
            <pc:sldMk cId="4120696066" sldId="2595"/>
            <ac:spMk id="4" creationId="{F40E3367-1B2C-4E54-AFE9-00859BEA96A4}"/>
          </ac:spMkLst>
        </pc:spChg>
        <pc:spChg chg="del">
          <ac:chgData name="Gao, Tianyun (SI BP AUT EA PROD)" userId="25b3c3cc-5a46-4d03-a516-a1293833cff3" providerId="ADAL" clId="{827F7300-70D8-4B8E-8059-E0A9D709BD6E}" dt="2021-09-28T08:59:33.296" v="2562" actId="478"/>
          <ac:spMkLst>
            <pc:docMk/>
            <pc:sldMk cId="4120696066" sldId="2595"/>
            <ac:spMk id="5" creationId="{9CA6E7C8-0764-427B-96B3-349176C6EE3C}"/>
          </ac:spMkLst>
        </pc:spChg>
        <pc:spChg chg="add mod">
          <ac:chgData name="Gao, Tianyun (SI BP AUT EA PROD)" userId="25b3c3cc-5a46-4d03-a516-a1293833cff3" providerId="ADAL" clId="{827F7300-70D8-4B8E-8059-E0A9D709BD6E}" dt="2021-10-04T20:17:44.838" v="3992"/>
          <ac:spMkLst>
            <pc:docMk/>
            <pc:sldMk cId="4120696066" sldId="2595"/>
            <ac:spMk id="6" creationId="{A097853C-E432-418B-9375-8CAF4B1A7DE3}"/>
          </ac:spMkLst>
        </pc:spChg>
        <pc:spChg chg="add mod">
          <ac:chgData name="Gao, Tianyun (SI BP AUT EA PROD)" userId="25b3c3cc-5a46-4d03-a516-a1293833cff3" providerId="ADAL" clId="{827F7300-70D8-4B8E-8059-E0A9D709BD6E}" dt="2021-10-05T13:22:58.497" v="5192" actId="14100"/>
          <ac:spMkLst>
            <pc:docMk/>
            <pc:sldMk cId="4120696066" sldId="2595"/>
            <ac:spMk id="8" creationId="{3A0F807B-08AE-46F1-ACF0-21B750093F26}"/>
          </ac:spMkLst>
        </pc:spChg>
        <pc:spChg chg="add mod">
          <ac:chgData name="Gao, Tianyun (SI BP AUT EA PROD)" userId="25b3c3cc-5a46-4d03-a516-a1293833cff3" providerId="ADAL" clId="{827F7300-70D8-4B8E-8059-E0A9D709BD6E}" dt="2021-10-05T13:23:09.914" v="5196" actId="20577"/>
          <ac:spMkLst>
            <pc:docMk/>
            <pc:sldMk cId="4120696066" sldId="2595"/>
            <ac:spMk id="10" creationId="{4A66B3DC-5784-48A3-A689-AC820E5BD404}"/>
          </ac:spMkLst>
        </pc:spChg>
        <pc:spChg chg="add del mod">
          <ac:chgData name="Gao, Tianyun (SI BP AUT EA PROD)" userId="25b3c3cc-5a46-4d03-a516-a1293833cff3" providerId="ADAL" clId="{827F7300-70D8-4B8E-8059-E0A9D709BD6E}" dt="2021-10-04T20:32:28.668" v="4000" actId="478"/>
          <ac:spMkLst>
            <pc:docMk/>
            <pc:sldMk cId="4120696066" sldId="2595"/>
            <ac:spMk id="10" creationId="{BBFCDA95-2B1F-49C4-8B6D-54D1FCE60E1E}"/>
          </ac:spMkLst>
        </pc:spChg>
        <pc:picChg chg="add mod">
          <ac:chgData name="Gao, Tianyun (SI BP AUT EA PROD)" userId="25b3c3cc-5a46-4d03-a516-a1293833cff3" providerId="ADAL" clId="{827F7300-70D8-4B8E-8059-E0A9D709BD6E}" dt="2021-09-28T08:59:36.507" v="2565" actId="1076"/>
          <ac:picMkLst>
            <pc:docMk/>
            <pc:sldMk cId="4120696066" sldId="2595"/>
            <ac:picMk id="7" creationId="{77BA4E8C-BDE5-4F9E-8C9B-6EF2BFC0382C}"/>
          </ac:picMkLst>
        </pc:picChg>
        <pc:picChg chg="add mod">
          <ac:chgData name="Gao, Tianyun (SI BP AUT EA PROD)" userId="25b3c3cc-5a46-4d03-a516-a1293833cff3" providerId="ADAL" clId="{827F7300-70D8-4B8E-8059-E0A9D709BD6E}" dt="2021-10-04T20:32:25.413" v="3999" actId="14100"/>
          <ac:picMkLst>
            <pc:docMk/>
            <pc:sldMk cId="4120696066" sldId="2595"/>
            <ac:picMk id="9" creationId="{2E47C6E9-0B2D-43CB-BB92-59FC953AA001}"/>
          </ac:picMkLst>
        </pc:picChg>
      </pc:sldChg>
      <pc:sldChg chg="addSp delSp modSp add del mod ord">
        <pc:chgData name="Gao, Tianyun (SI BP AUT EA PROD)" userId="25b3c3cc-5a46-4d03-a516-a1293833cff3" providerId="ADAL" clId="{827F7300-70D8-4B8E-8059-E0A9D709BD6E}" dt="2021-10-04T20:32:55.180" v="4005" actId="47"/>
        <pc:sldMkLst>
          <pc:docMk/>
          <pc:sldMk cId="1771965474" sldId="2596"/>
        </pc:sldMkLst>
        <pc:spChg chg="del">
          <ac:chgData name="Gao, Tianyun (SI BP AUT EA PROD)" userId="25b3c3cc-5a46-4d03-a516-a1293833cff3" providerId="ADAL" clId="{827F7300-70D8-4B8E-8059-E0A9D709BD6E}" dt="2021-09-28T09:03:13.140" v="2684" actId="478"/>
          <ac:spMkLst>
            <pc:docMk/>
            <pc:sldMk cId="1771965474" sldId="2596"/>
            <ac:spMk id="3" creationId="{50E17820-B62F-4719-80D9-FEC26EF1D72C}"/>
          </ac:spMkLst>
        </pc:spChg>
        <pc:spChg chg="del">
          <ac:chgData name="Gao, Tianyun (SI BP AUT EA PROD)" userId="25b3c3cc-5a46-4d03-a516-a1293833cff3" providerId="ADAL" clId="{827F7300-70D8-4B8E-8059-E0A9D709BD6E}" dt="2021-09-28T09:03:25.674" v="2699" actId="478"/>
          <ac:spMkLst>
            <pc:docMk/>
            <pc:sldMk cId="1771965474" sldId="2596"/>
            <ac:spMk id="51" creationId="{4D3467B1-DFE1-49B5-B33F-52D5545519EA}"/>
          </ac:spMkLst>
        </pc:spChg>
        <pc:spChg chg="mod">
          <ac:chgData name="Gao, Tianyun (SI BP AUT EA PROD)" userId="25b3c3cc-5a46-4d03-a516-a1293833cff3" providerId="ADAL" clId="{827F7300-70D8-4B8E-8059-E0A9D709BD6E}" dt="2021-09-28T09:03:40.079" v="2714"/>
          <ac:spMkLst>
            <pc:docMk/>
            <pc:sldMk cId="1771965474" sldId="2596"/>
            <ac:spMk id="56" creationId="{3FE68655-EDBD-4A0A-98E4-B23A736F7B8B}"/>
          </ac:spMkLst>
        </pc:spChg>
        <pc:spChg chg="add mod">
          <ac:chgData name="Gao, Tianyun (SI BP AUT EA PROD)" userId="25b3c3cc-5a46-4d03-a516-a1293833cff3" providerId="ADAL" clId="{827F7300-70D8-4B8E-8059-E0A9D709BD6E}" dt="2021-09-28T09:04:00.548" v="2735" actId="20577"/>
          <ac:spMkLst>
            <pc:docMk/>
            <pc:sldMk cId="1771965474" sldId="2596"/>
            <ac:spMk id="57" creationId="{B1BBFA4D-B1CC-4240-9171-31D7A68C835D}"/>
          </ac:spMkLst>
        </pc:spChg>
        <pc:spChg chg="mod">
          <ac:chgData name="Gao, Tianyun (SI BP AUT EA PROD)" userId="25b3c3cc-5a46-4d03-a516-a1293833cff3" providerId="ADAL" clId="{827F7300-70D8-4B8E-8059-E0A9D709BD6E}" dt="2021-09-28T09:03:21.430" v="2698" actId="20577"/>
          <ac:spMkLst>
            <pc:docMk/>
            <pc:sldMk cId="1771965474" sldId="2596"/>
            <ac:spMk id="76" creationId="{17BB12BD-1EA4-4D04-A0E0-80A90B0D552B}"/>
          </ac:spMkLst>
        </pc:spChg>
        <pc:grpChg chg="del">
          <ac:chgData name="Gao, Tianyun (SI BP AUT EA PROD)" userId="25b3c3cc-5a46-4d03-a516-a1293833cff3" providerId="ADAL" clId="{827F7300-70D8-4B8E-8059-E0A9D709BD6E}" dt="2021-09-28T09:03:09.780" v="2683" actId="478"/>
          <ac:grpSpMkLst>
            <pc:docMk/>
            <pc:sldMk cId="1771965474" sldId="2596"/>
            <ac:grpSpMk id="4" creationId="{9591BF25-6260-4F50-8819-B87FDCC8F156}"/>
          </ac:grpSpMkLst>
        </pc:grpChg>
        <pc:grpChg chg="add mod">
          <ac:chgData name="Gao, Tianyun (SI BP AUT EA PROD)" userId="25b3c3cc-5a46-4d03-a516-a1293833cff3" providerId="ADAL" clId="{827F7300-70D8-4B8E-8059-E0A9D709BD6E}" dt="2021-09-28T09:03:42.014" v="2715" actId="1076"/>
          <ac:grpSpMkLst>
            <pc:docMk/>
            <pc:sldMk cId="1771965474" sldId="2596"/>
            <ac:grpSpMk id="54" creationId="{56BBD446-2298-402E-95D1-066A1ED7ED5B}"/>
          </ac:grpSpMkLst>
        </pc:grpChg>
        <pc:picChg chg="add mod">
          <ac:chgData name="Gao, Tianyun (SI BP AUT EA PROD)" userId="25b3c3cc-5a46-4d03-a516-a1293833cff3" providerId="ADAL" clId="{827F7300-70D8-4B8E-8059-E0A9D709BD6E}" dt="2021-10-04T20:32:50.283" v="4004" actId="14100"/>
          <ac:picMkLst>
            <pc:docMk/>
            <pc:sldMk cId="1771965474" sldId="2596"/>
            <ac:picMk id="10" creationId="{D2E2371E-73B8-4B72-96AA-502846B0AAAC}"/>
          </ac:picMkLst>
        </pc:picChg>
        <pc:picChg chg="add mod">
          <ac:chgData name="Gao, Tianyun (SI BP AUT EA PROD)" userId="25b3c3cc-5a46-4d03-a516-a1293833cff3" providerId="ADAL" clId="{827F7300-70D8-4B8E-8059-E0A9D709BD6E}" dt="2021-10-04T19:39:56.251" v="3022" actId="1076"/>
          <ac:picMkLst>
            <pc:docMk/>
            <pc:sldMk cId="1771965474" sldId="2596"/>
            <ac:picMk id="11" creationId="{D7CDA0CC-9238-47D2-AB4E-A305BB99019A}"/>
          </ac:picMkLst>
        </pc:picChg>
        <pc:picChg chg="del">
          <ac:chgData name="Gao, Tianyun (SI BP AUT EA PROD)" userId="25b3c3cc-5a46-4d03-a516-a1293833cff3" providerId="ADAL" clId="{827F7300-70D8-4B8E-8059-E0A9D709BD6E}" dt="2021-09-28T09:03:25.674" v="2699" actId="478"/>
          <ac:picMkLst>
            <pc:docMk/>
            <pc:sldMk cId="1771965474" sldId="2596"/>
            <ac:picMk id="50" creationId="{89FCCCBB-ED13-4399-8A7E-860876127743}"/>
          </ac:picMkLst>
        </pc:picChg>
        <pc:picChg chg="mod">
          <ac:chgData name="Gao, Tianyun (SI BP AUT EA PROD)" userId="25b3c3cc-5a46-4d03-a516-a1293833cff3" providerId="ADAL" clId="{827F7300-70D8-4B8E-8059-E0A9D709BD6E}" dt="2021-09-28T09:03:40.079" v="2714"/>
          <ac:picMkLst>
            <pc:docMk/>
            <pc:sldMk cId="1771965474" sldId="2596"/>
            <ac:picMk id="55" creationId="{65DF25F1-0FB4-474A-80E0-AA80851062CF}"/>
          </ac:picMkLst>
        </pc:picChg>
      </pc:sldChg>
      <pc:sldChg chg="addSp delSp modSp add mod">
        <pc:chgData name="Gao, Tianyun (SI BP AUT EA PROD)" userId="25b3c3cc-5a46-4d03-a516-a1293833cff3" providerId="ADAL" clId="{827F7300-70D8-4B8E-8059-E0A9D709BD6E}" dt="2021-10-05T12:40:01.003" v="4225" actId="14100"/>
        <pc:sldMkLst>
          <pc:docMk/>
          <pc:sldMk cId="2117204231" sldId="2597"/>
        </pc:sldMkLst>
        <pc:spChg chg="del">
          <ac:chgData name="Gao, Tianyun (SI BP AUT EA PROD)" userId="25b3c3cc-5a46-4d03-a516-a1293833cff3" providerId="ADAL" clId="{827F7300-70D8-4B8E-8059-E0A9D709BD6E}" dt="2021-10-04T20:10:05.388" v="3920" actId="478"/>
          <ac:spMkLst>
            <pc:docMk/>
            <pc:sldMk cId="2117204231" sldId="2597"/>
            <ac:spMk id="6" creationId="{1A535FC8-8D59-4EDF-8C09-A5FE77F47446}"/>
          </ac:spMkLst>
        </pc:spChg>
        <pc:spChg chg="del">
          <ac:chgData name="Gao, Tianyun (SI BP AUT EA PROD)" userId="25b3c3cc-5a46-4d03-a516-a1293833cff3" providerId="ADAL" clId="{827F7300-70D8-4B8E-8059-E0A9D709BD6E}" dt="2021-10-04T20:10:05.388" v="3920" actId="478"/>
          <ac:spMkLst>
            <pc:docMk/>
            <pc:sldMk cId="2117204231" sldId="2597"/>
            <ac:spMk id="7" creationId="{EEA021D5-9764-4085-BCB1-98566D1B8543}"/>
          </ac:spMkLst>
        </pc:spChg>
        <pc:spChg chg="del">
          <ac:chgData name="Gao, Tianyun (SI BP AUT EA PROD)" userId="25b3c3cc-5a46-4d03-a516-a1293833cff3" providerId="ADAL" clId="{827F7300-70D8-4B8E-8059-E0A9D709BD6E}" dt="2021-10-04T20:10:05.388" v="3920" actId="478"/>
          <ac:spMkLst>
            <pc:docMk/>
            <pc:sldMk cId="2117204231" sldId="2597"/>
            <ac:spMk id="8" creationId="{EA38F094-E60B-4CA8-9C0F-6E10C9603133}"/>
          </ac:spMkLst>
        </pc:spChg>
        <pc:spChg chg="del">
          <ac:chgData name="Gao, Tianyun (SI BP AUT EA PROD)" userId="25b3c3cc-5a46-4d03-a516-a1293833cff3" providerId="ADAL" clId="{827F7300-70D8-4B8E-8059-E0A9D709BD6E}" dt="2021-10-04T20:10:05.388" v="3920" actId="478"/>
          <ac:spMkLst>
            <pc:docMk/>
            <pc:sldMk cId="2117204231" sldId="2597"/>
            <ac:spMk id="22" creationId="{FB205EED-F0AA-4B9A-BDB7-0B9DFC4141B9}"/>
          </ac:spMkLst>
        </pc:spChg>
        <pc:spChg chg="del">
          <ac:chgData name="Gao, Tianyun (SI BP AUT EA PROD)" userId="25b3c3cc-5a46-4d03-a516-a1293833cff3" providerId="ADAL" clId="{827F7300-70D8-4B8E-8059-E0A9D709BD6E}" dt="2021-10-04T20:10:08.252" v="3921" actId="478"/>
          <ac:spMkLst>
            <pc:docMk/>
            <pc:sldMk cId="2117204231" sldId="2597"/>
            <ac:spMk id="28" creationId="{BF4ACB7E-BEDC-4E41-B7C1-D32EEF8DB777}"/>
          </ac:spMkLst>
        </pc:spChg>
        <pc:spChg chg="mod">
          <ac:chgData name="Gao, Tianyun (SI BP AUT EA PROD)" userId="25b3c3cc-5a46-4d03-a516-a1293833cff3" providerId="ADAL" clId="{827F7300-70D8-4B8E-8059-E0A9D709BD6E}" dt="2021-10-05T12:39:33.263" v="4223" actId="1076"/>
          <ac:spMkLst>
            <pc:docMk/>
            <pc:sldMk cId="2117204231" sldId="2597"/>
            <ac:spMk id="29" creationId="{54FC7493-BD82-4508-9A5F-B807EADC2EEF}"/>
          </ac:spMkLst>
        </pc:spChg>
        <pc:spChg chg="add mod">
          <ac:chgData name="Gao, Tianyun (SI BP AUT EA PROD)" userId="25b3c3cc-5a46-4d03-a516-a1293833cff3" providerId="ADAL" clId="{827F7300-70D8-4B8E-8059-E0A9D709BD6E}" dt="2021-10-04T20:13:42.020" v="3944" actId="1076"/>
          <ac:spMkLst>
            <pc:docMk/>
            <pc:sldMk cId="2117204231" sldId="2597"/>
            <ac:spMk id="31" creationId="{3B7FA286-1BB0-4FD6-A3B1-5CCB7F893565}"/>
          </ac:spMkLst>
        </pc:spChg>
        <pc:spChg chg="add del mod">
          <ac:chgData name="Gao, Tianyun (SI BP AUT EA PROD)" userId="25b3c3cc-5a46-4d03-a516-a1293833cff3" providerId="ADAL" clId="{827F7300-70D8-4B8E-8059-E0A9D709BD6E}" dt="2021-10-04T20:14:15.756" v="3950" actId="478"/>
          <ac:spMkLst>
            <pc:docMk/>
            <pc:sldMk cId="2117204231" sldId="2597"/>
            <ac:spMk id="32" creationId="{F6923A59-7252-45F4-AD3F-04924A11838A}"/>
          </ac:spMkLst>
        </pc:spChg>
        <pc:spChg chg="add del mod">
          <ac:chgData name="Gao, Tianyun (SI BP AUT EA PROD)" userId="25b3c3cc-5a46-4d03-a516-a1293833cff3" providerId="ADAL" clId="{827F7300-70D8-4B8E-8059-E0A9D709BD6E}" dt="2021-10-04T20:14:07.221" v="3947" actId="478"/>
          <ac:spMkLst>
            <pc:docMk/>
            <pc:sldMk cId="2117204231" sldId="2597"/>
            <ac:spMk id="33" creationId="{3593AAA6-9F94-450F-8437-DEE2F18BD3D0}"/>
          </ac:spMkLst>
        </pc:spChg>
        <pc:spChg chg="mod">
          <ac:chgData name="Gao, Tianyun (SI BP AUT EA PROD)" userId="25b3c3cc-5a46-4d03-a516-a1293833cff3" providerId="ADAL" clId="{827F7300-70D8-4B8E-8059-E0A9D709BD6E}" dt="2021-10-04T20:12:07.963" v="3926" actId="1076"/>
          <ac:spMkLst>
            <pc:docMk/>
            <pc:sldMk cId="2117204231" sldId="2597"/>
            <ac:spMk id="36" creationId="{FD9DDC33-E432-400D-97F6-67F8C4A91552}"/>
          </ac:spMkLst>
        </pc:spChg>
        <pc:spChg chg="mod">
          <ac:chgData name="Gao, Tianyun (SI BP AUT EA PROD)" userId="25b3c3cc-5a46-4d03-a516-a1293833cff3" providerId="ADAL" clId="{827F7300-70D8-4B8E-8059-E0A9D709BD6E}" dt="2021-10-04T20:12:11.549" v="3927" actId="1076"/>
          <ac:spMkLst>
            <pc:docMk/>
            <pc:sldMk cId="2117204231" sldId="2597"/>
            <ac:spMk id="38" creationId="{C7393EA7-6091-4FD1-B2AB-7989165CBCDC}"/>
          </ac:spMkLst>
        </pc:spChg>
        <pc:spChg chg="mod">
          <ac:chgData name="Gao, Tianyun (SI BP AUT EA PROD)" userId="25b3c3cc-5a46-4d03-a516-a1293833cff3" providerId="ADAL" clId="{827F7300-70D8-4B8E-8059-E0A9D709BD6E}" dt="2021-10-05T12:40:01.003" v="4225" actId="14100"/>
          <ac:spMkLst>
            <pc:docMk/>
            <pc:sldMk cId="2117204231" sldId="2597"/>
            <ac:spMk id="40" creationId="{E278F5A8-B5FC-461F-B2E4-D0F124969861}"/>
          </ac:spMkLst>
        </pc:spChg>
        <pc:spChg chg="add mod">
          <ac:chgData name="Gao, Tianyun (SI BP AUT EA PROD)" userId="25b3c3cc-5a46-4d03-a516-a1293833cff3" providerId="ADAL" clId="{827F7300-70D8-4B8E-8059-E0A9D709BD6E}" dt="2021-10-04T20:13:42.020" v="3944" actId="1076"/>
          <ac:spMkLst>
            <pc:docMk/>
            <pc:sldMk cId="2117204231" sldId="2597"/>
            <ac:spMk id="41" creationId="{0E3174B9-49E3-4E41-92F9-AB440F01D925}"/>
          </ac:spMkLst>
        </pc:spChg>
        <pc:spChg chg="add mod">
          <ac:chgData name="Gao, Tianyun (SI BP AUT EA PROD)" userId="25b3c3cc-5a46-4d03-a516-a1293833cff3" providerId="ADAL" clId="{827F7300-70D8-4B8E-8059-E0A9D709BD6E}" dt="2021-10-04T20:13:57.974" v="3946" actId="1076"/>
          <ac:spMkLst>
            <pc:docMk/>
            <pc:sldMk cId="2117204231" sldId="2597"/>
            <ac:spMk id="43" creationId="{ED9ACD1E-6763-480A-84FC-094B48FF6E54}"/>
          </ac:spMkLst>
        </pc:spChg>
        <pc:spChg chg="del">
          <ac:chgData name="Gao, Tianyun (SI BP AUT EA PROD)" userId="25b3c3cc-5a46-4d03-a516-a1293833cff3" providerId="ADAL" clId="{827F7300-70D8-4B8E-8059-E0A9D709BD6E}" dt="2021-10-04T20:09:55.780" v="3919" actId="478"/>
          <ac:spMkLst>
            <pc:docMk/>
            <pc:sldMk cId="2117204231" sldId="2597"/>
            <ac:spMk id="45" creationId="{02EB833C-01B4-41EF-A5DB-0FF886ED5134}"/>
          </ac:spMkLst>
        </pc:spChg>
        <pc:spChg chg="del mod">
          <ac:chgData name="Gao, Tianyun (SI BP AUT EA PROD)" userId="25b3c3cc-5a46-4d03-a516-a1293833cff3" providerId="ADAL" clId="{827F7300-70D8-4B8E-8059-E0A9D709BD6E}" dt="2021-10-04T20:12:39.707" v="3928" actId="478"/>
          <ac:spMkLst>
            <pc:docMk/>
            <pc:sldMk cId="2117204231" sldId="2597"/>
            <ac:spMk id="46" creationId="{9C652C4C-DFF0-49DC-A4B0-EAB90E9D9B51}"/>
          </ac:spMkLst>
        </pc:spChg>
        <pc:spChg chg="add del mod">
          <ac:chgData name="Gao, Tianyun (SI BP AUT EA PROD)" userId="25b3c3cc-5a46-4d03-a516-a1293833cff3" providerId="ADAL" clId="{827F7300-70D8-4B8E-8059-E0A9D709BD6E}" dt="2021-10-04T20:14:19.187" v="3951" actId="478"/>
          <ac:spMkLst>
            <pc:docMk/>
            <pc:sldMk cId="2117204231" sldId="2597"/>
            <ac:spMk id="48" creationId="{23D928D8-723C-47E1-8C31-6DD5407EC10C}"/>
          </ac:spMkLst>
        </pc:spChg>
        <pc:spChg chg="add del mod">
          <ac:chgData name="Gao, Tianyun (SI BP AUT EA PROD)" userId="25b3c3cc-5a46-4d03-a516-a1293833cff3" providerId="ADAL" clId="{827F7300-70D8-4B8E-8059-E0A9D709BD6E}" dt="2021-10-04T20:14:09.969" v="3948" actId="478"/>
          <ac:spMkLst>
            <pc:docMk/>
            <pc:sldMk cId="2117204231" sldId="2597"/>
            <ac:spMk id="49" creationId="{2C0E975A-9150-4F13-8324-2D31F8BB5736}"/>
          </ac:spMkLst>
        </pc:spChg>
        <pc:spChg chg="add mod">
          <ac:chgData name="Gao, Tianyun (SI BP AUT EA PROD)" userId="25b3c3cc-5a46-4d03-a516-a1293833cff3" providerId="ADAL" clId="{827F7300-70D8-4B8E-8059-E0A9D709BD6E}" dt="2021-10-04T20:13:57.974" v="3946" actId="1076"/>
          <ac:spMkLst>
            <pc:docMk/>
            <pc:sldMk cId="2117204231" sldId="2597"/>
            <ac:spMk id="51" creationId="{D4F2CD92-1ABF-42A4-9534-981A87703402}"/>
          </ac:spMkLst>
        </pc:spChg>
        <pc:spChg chg="add del mod">
          <ac:chgData name="Gao, Tianyun (SI BP AUT EA PROD)" userId="25b3c3cc-5a46-4d03-a516-a1293833cff3" providerId="ADAL" clId="{827F7300-70D8-4B8E-8059-E0A9D709BD6E}" dt="2021-10-04T20:14:27.164" v="3952" actId="478"/>
          <ac:spMkLst>
            <pc:docMk/>
            <pc:sldMk cId="2117204231" sldId="2597"/>
            <ac:spMk id="52" creationId="{CD520D4F-D3A0-43E8-8B3F-288CD760DF42}"/>
          </ac:spMkLst>
        </pc:spChg>
        <pc:spChg chg="add del mod">
          <ac:chgData name="Gao, Tianyun (SI BP AUT EA PROD)" userId="25b3c3cc-5a46-4d03-a516-a1293833cff3" providerId="ADAL" clId="{827F7300-70D8-4B8E-8059-E0A9D709BD6E}" dt="2021-10-04T20:14:12.435" v="3949" actId="478"/>
          <ac:spMkLst>
            <pc:docMk/>
            <pc:sldMk cId="2117204231" sldId="2597"/>
            <ac:spMk id="53" creationId="{612D8D8F-6816-4F22-8F97-9FD5B41855D0}"/>
          </ac:spMkLst>
        </pc:spChg>
        <pc:spChg chg="add mod">
          <ac:chgData name="Gao, Tianyun (SI BP AUT EA PROD)" userId="25b3c3cc-5a46-4d03-a516-a1293833cff3" providerId="ADAL" clId="{827F7300-70D8-4B8E-8059-E0A9D709BD6E}" dt="2021-10-04T20:13:57.974" v="3946" actId="1076"/>
          <ac:spMkLst>
            <pc:docMk/>
            <pc:sldMk cId="2117204231" sldId="2597"/>
            <ac:spMk id="59" creationId="{D8FE50D4-8C41-482C-B2C8-CB7EFF1B7139}"/>
          </ac:spMkLst>
        </pc:spChg>
        <pc:spChg chg="add mod">
          <ac:chgData name="Gao, Tianyun (SI BP AUT EA PROD)" userId="25b3c3cc-5a46-4d03-a516-a1293833cff3" providerId="ADAL" clId="{827F7300-70D8-4B8E-8059-E0A9D709BD6E}" dt="2021-10-05T12:39:30.016" v="4222" actId="1076"/>
          <ac:spMkLst>
            <pc:docMk/>
            <pc:sldMk cId="2117204231" sldId="2597"/>
            <ac:spMk id="68" creationId="{D2B079E7-B1CB-4DC8-8E7D-62DE3C60EDDB}"/>
          </ac:spMkLst>
        </pc:spChg>
        <pc:graphicFrameChg chg="del">
          <ac:chgData name="Gao, Tianyun (SI BP AUT EA PROD)" userId="25b3c3cc-5a46-4d03-a516-a1293833cff3" providerId="ADAL" clId="{827F7300-70D8-4B8E-8059-E0A9D709BD6E}" dt="2021-10-04T20:10:05.388" v="3920" actId="478"/>
          <ac:graphicFrameMkLst>
            <pc:docMk/>
            <pc:sldMk cId="2117204231" sldId="2597"/>
            <ac:graphicFrameMk id="26" creationId="{A2011889-D5E6-4EE0-809A-A90C02C3956B}"/>
          </ac:graphicFrameMkLst>
        </pc:graphicFrameChg>
        <pc:graphicFrameChg chg="add mod">
          <ac:chgData name="Gao, Tianyun (SI BP AUT EA PROD)" userId="25b3c3cc-5a46-4d03-a516-a1293833cff3" providerId="ADAL" clId="{827F7300-70D8-4B8E-8059-E0A9D709BD6E}" dt="2021-10-04T20:13:42.020" v="3944" actId="1076"/>
          <ac:graphicFrameMkLst>
            <pc:docMk/>
            <pc:sldMk cId="2117204231" sldId="2597"/>
            <ac:graphicFrameMk id="34" creationId="{ACC200DB-0EA0-4C9E-B923-A502E16B4714}"/>
          </ac:graphicFrameMkLst>
        </pc:graphicFrameChg>
        <pc:graphicFrameChg chg="mod">
          <ac:chgData name="Gao, Tianyun (SI BP AUT EA PROD)" userId="25b3c3cc-5a46-4d03-a516-a1293833cff3" providerId="ADAL" clId="{827F7300-70D8-4B8E-8059-E0A9D709BD6E}" dt="2021-10-04T20:10:14.139" v="3922" actId="1076"/>
          <ac:graphicFrameMkLst>
            <pc:docMk/>
            <pc:sldMk cId="2117204231" sldId="2597"/>
            <ac:graphicFrameMk id="44" creationId="{96F33148-7B3A-4342-9E82-D5B8B44CEF9D}"/>
          </ac:graphicFrameMkLst>
        </pc:graphicFrameChg>
        <pc:graphicFrameChg chg="add mod">
          <ac:chgData name="Gao, Tianyun (SI BP AUT EA PROD)" userId="25b3c3cc-5a46-4d03-a516-a1293833cff3" providerId="ADAL" clId="{827F7300-70D8-4B8E-8059-E0A9D709BD6E}" dt="2021-10-04T20:13:57.974" v="3946" actId="1076"/>
          <ac:graphicFrameMkLst>
            <pc:docMk/>
            <pc:sldMk cId="2117204231" sldId="2597"/>
            <ac:graphicFrameMk id="50" creationId="{4FF97D30-3266-4C0A-A787-B89A4E787E35}"/>
          </ac:graphicFrameMkLst>
        </pc:graphicFrameChg>
        <pc:graphicFrameChg chg="add mod">
          <ac:chgData name="Gao, Tianyun (SI BP AUT EA PROD)" userId="25b3c3cc-5a46-4d03-a516-a1293833cff3" providerId="ADAL" clId="{827F7300-70D8-4B8E-8059-E0A9D709BD6E}" dt="2021-10-04T20:13:57.974" v="3946" actId="1076"/>
          <ac:graphicFrameMkLst>
            <pc:docMk/>
            <pc:sldMk cId="2117204231" sldId="2597"/>
            <ac:graphicFrameMk id="54" creationId="{C5EF833E-75C1-4F8A-AA34-F24516E0AE80}"/>
          </ac:graphicFrameMkLst>
        </pc:graphicFrameChg>
        <pc:picChg chg="add mod">
          <ac:chgData name="Gao, Tianyun (SI BP AUT EA PROD)" userId="25b3c3cc-5a46-4d03-a516-a1293833cff3" providerId="ADAL" clId="{827F7300-70D8-4B8E-8059-E0A9D709BD6E}" dt="2021-10-05T12:39:25.022" v="4221" actId="1076"/>
          <ac:picMkLst>
            <pc:docMk/>
            <pc:sldMk cId="2117204231" sldId="2597"/>
            <ac:picMk id="4" creationId="{42161D89-9991-4296-8AC8-5AF3EFB69052}"/>
          </ac:picMkLst>
        </pc:picChg>
        <pc:cxnChg chg="del">
          <ac:chgData name="Gao, Tianyun (SI BP AUT EA PROD)" userId="25b3c3cc-5a46-4d03-a516-a1293833cff3" providerId="ADAL" clId="{827F7300-70D8-4B8E-8059-E0A9D709BD6E}" dt="2021-10-04T20:10:05.388" v="3920" actId="478"/>
          <ac:cxnSpMkLst>
            <pc:docMk/>
            <pc:sldMk cId="2117204231" sldId="2597"/>
            <ac:cxnSpMk id="4" creationId="{0C409B95-9A5F-47DA-8818-EEA548FC5366}"/>
          </ac:cxnSpMkLst>
        </pc:cxnChg>
        <pc:cxnChg chg="del">
          <ac:chgData name="Gao, Tianyun (SI BP AUT EA PROD)" userId="25b3c3cc-5a46-4d03-a516-a1293833cff3" providerId="ADAL" clId="{827F7300-70D8-4B8E-8059-E0A9D709BD6E}" dt="2021-10-04T20:10:05.388" v="3920" actId="478"/>
          <ac:cxnSpMkLst>
            <pc:docMk/>
            <pc:sldMk cId="2117204231" sldId="2597"/>
            <ac:cxnSpMk id="9" creationId="{9D9974C2-E83C-4FFD-9D8D-A91EA71444CF}"/>
          </ac:cxnSpMkLst>
        </pc:cxnChg>
        <pc:cxnChg chg="del">
          <ac:chgData name="Gao, Tianyun (SI BP AUT EA PROD)" userId="25b3c3cc-5a46-4d03-a516-a1293833cff3" providerId="ADAL" clId="{827F7300-70D8-4B8E-8059-E0A9D709BD6E}" dt="2021-10-04T20:10:05.388" v="3920" actId="478"/>
          <ac:cxnSpMkLst>
            <pc:docMk/>
            <pc:sldMk cId="2117204231" sldId="2597"/>
            <ac:cxnSpMk id="19" creationId="{71C5E728-8F76-49BE-8858-F9D254CC8C63}"/>
          </ac:cxnSpMkLst>
        </pc:cxnChg>
        <pc:cxnChg chg="del">
          <ac:chgData name="Gao, Tianyun (SI BP AUT EA PROD)" userId="25b3c3cc-5a46-4d03-a516-a1293833cff3" providerId="ADAL" clId="{827F7300-70D8-4B8E-8059-E0A9D709BD6E}" dt="2021-10-04T20:10:05.388" v="3920" actId="478"/>
          <ac:cxnSpMkLst>
            <pc:docMk/>
            <pc:sldMk cId="2117204231" sldId="2597"/>
            <ac:cxnSpMk id="24" creationId="{C0E193D6-DEA4-4F5E-B6DF-EE02480CD1FE}"/>
          </ac:cxnSpMkLst>
        </pc:cxnChg>
        <pc:cxnChg chg="mod">
          <ac:chgData name="Gao, Tianyun (SI BP AUT EA PROD)" userId="25b3c3cc-5a46-4d03-a516-a1293833cff3" providerId="ADAL" clId="{827F7300-70D8-4B8E-8059-E0A9D709BD6E}" dt="2021-10-04T20:10:14.139" v="3922" actId="1076"/>
          <ac:cxnSpMkLst>
            <pc:docMk/>
            <pc:sldMk cId="2117204231" sldId="2597"/>
            <ac:cxnSpMk id="25" creationId="{3B8296DE-8FF1-4056-8182-C2E3CD060EBC}"/>
          </ac:cxnSpMkLst>
        </pc:cxnChg>
        <pc:cxnChg chg="mod">
          <ac:chgData name="Gao, Tianyun (SI BP AUT EA PROD)" userId="25b3c3cc-5a46-4d03-a516-a1293833cff3" providerId="ADAL" clId="{827F7300-70D8-4B8E-8059-E0A9D709BD6E}" dt="2021-10-04T20:10:14.139" v="3922" actId="1076"/>
          <ac:cxnSpMkLst>
            <pc:docMk/>
            <pc:sldMk cId="2117204231" sldId="2597"/>
            <ac:cxnSpMk id="27" creationId="{852BD1F3-1136-4220-BB86-BA78B05A1141}"/>
          </ac:cxnSpMkLst>
        </pc:cxnChg>
        <pc:cxnChg chg="add mod">
          <ac:chgData name="Gao, Tianyun (SI BP AUT EA PROD)" userId="25b3c3cc-5a46-4d03-a516-a1293833cff3" providerId="ADAL" clId="{827F7300-70D8-4B8E-8059-E0A9D709BD6E}" dt="2021-10-04T20:11:39.132" v="3924" actId="1076"/>
          <ac:cxnSpMkLst>
            <pc:docMk/>
            <pc:sldMk cId="2117204231" sldId="2597"/>
            <ac:cxnSpMk id="30" creationId="{1652FEDE-F2C0-4DE1-BD1E-805CED5DAB69}"/>
          </ac:cxnSpMkLst>
        </pc:cxnChg>
        <pc:cxnChg chg="add mod">
          <ac:chgData name="Gao, Tianyun (SI BP AUT EA PROD)" userId="25b3c3cc-5a46-4d03-a516-a1293833cff3" providerId="ADAL" clId="{827F7300-70D8-4B8E-8059-E0A9D709BD6E}" dt="2021-10-04T20:13:42.020" v="3944" actId="1076"/>
          <ac:cxnSpMkLst>
            <pc:docMk/>
            <pc:sldMk cId="2117204231" sldId="2597"/>
            <ac:cxnSpMk id="35" creationId="{9D614B38-0F88-4B5A-83AD-58745A319F48}"/>
          </ac:cxnSpMkLst>
        </pc:cxnChg>
        <pc:cxnChg chg="add mod">
          <ac:chgData name="Gao, Tianyun (SI BP AUT EA PROD)" userId="25b3c3cc-5a46-4d03-a516-a1293833cff3" providerId="ADAL" clId="{827F7300-70D8-4B8E-8059-E0A9D709BD6E}" dt="2021-10-04T20:13:42.020" v="3944" actId="1076"/>
          <ac:cxnSpMkLst>
            <pc:docMk/>
            <pc:sldMk cId="2117204231" sldId="2597"/>
            <ac:cxnSpMk id="37" creationId="{523F6393-57CD-4633-9980-BACA800ECD73}"/>
          </ac:cxnSpMkLst>
        </pc:cxnChg>
        <pc:cxnChg chg="add mod">
          <ac:chgData name="Gao, Tianyun (SI BP AUT EA PROD)" userId="25b3c3cc-5a46-4d03-a516-a1293833cff3" providerId="ADAL" clId="{827F7300-70D8-4B8E-8059-E0A9D709BD6E}" dt="2021-10-04T20:13:42.020" v="3944" actId="1076"/>
          <ac:cxnSpMkLst>
            <pc:docMk/>
            <pc:sldMk cId="2117204231" sldId="2597"/>
            <ac:cxnSpMk id="39" creationId="{688D10BF-4A83-48B9-A9BA-51FB80720B8B}"/>
          </ac:cxnSpMkLst>
        </pc:cxnChg>
        <pc:cxnChg chg="add mod">
          <ac:chgData name="Gao, Tianyun (SI BP AUT EA PROD)" userId="25b3c3cc-5a46-4d03-a516-a1293833cff3" providerId="ADAL" clId="{827F7300-70D8-4B8E-8059-E0A9D709BD6E}" dt="2021-10-04T20:13:42.020" v="3944" actId="1076"/>
          <ac:cxnSpMkLst>
            <pc:docMk/>
            <pc:sldMk cId="2117204231" sldId="2597"/>
            <ac:cxnSpMk id="42" creationId="{A6530B70-2E2A-4996-9390-AB3AFF4345A1}"/>
          </ac:cxnSpMkLst>
        </pc:cxnChg>
        <pc:cxnChg chg="add mod">
          <ac:chgData name="Gao, Tianyun (SI BP AUT EA PROD)" userId="25b3c3cc-5a46-4d03-a516-a1293833cff3" providerId="ADAL" clId="{827F7300-70D8-4B8E-8059-E0A9D709BD6E}" dt="2021-10-04T20:13:57.974" v="3946" actId="1076"/>
          <ac:cxnSpMkLst>
            <pc:docMk/>
            <pc:sldMk cId="2117204231" sldId="2597"/>
            <ac:cxnSpMk id="55" creationId="{C25F8F83-F10E-49FE-8DF3-25DF1035C178}"/>
          </ac:cxnSpMkLst>
        </pc:cxnChg>
        <pc:cxnChg chg="add mod">
          <ac:chgData name="Gao, Tianyun (SI BP AUT EA PROD)" userId="25b3c3cc-5a46-4d03-a516-a1293833cff3" providerId="ADAL" clId="{827F7300-70D8-4B8E-8059-E0A9D709BD6E}" dt="2021-10-04T20:13:57.974" v="3946" actId="1076"/>
          <ac:cxnSpMkLst>
            <pc:docMk/>
            <pc:sldMk cId="2117204231" sldId="2597"/>
            <ac:cxnSpMk id="56" creationId="{3F27D4B3-4BEE-49C4-98CB-34C5D156F49D}"/>
          </ac:cxnSpMkLst>
        </pc:cxnChg>
        <pc:cxnChg chg="add mod">
          <ac:chgData name="Gao, Tianyun (SI BP AUT EA PROD)" userId="25b3c3cc-5a46-4d03-a516-a1293833cff3" providerId="ADAL" clId="{827F7300-70D8-4B8E-8059-E0A9D709BD6E}" dt="2021-10-04T20:13:57.974" v="3946" actId="1076"/>
          <ac:cxnSpMkLst>
            <pc:docMk/>
            <pc:sldMk cId="2117204231" sldId="2597"/>
            <ac:cxnSpMk id="57" creationId="{59FB1537-857A-46F8-BDF3-89E51B4D8648}"/>
          </ac:cxnSpMkLst>
        </pc:cxnChg>
        <pc:cxnChg chg="add mod">
          <ac:chgData name="Gao, Tianyun (SI BP AUT EA PROD)" userId="25b3c3cc-5a46-4d03-a516-a1293833cff3" providerId="ADAL" clId="{827F7300-70D8-4B8E-8059-E0A9D709BD6E}" dt="2021-10-04T20:13:57.974" v="3946" actId="1076"/>
          <ac:cxnSpMkLst>
            <pc:docMk/>
            <pc:sldMk cId="2117204231" sldId="2597"/>
            <ac:cxnSpMk id="58" creationId="{DAF6274D-1083-477C-BCAD-A6687D8B62F8}"/>
          </ac:cxnSpMkLst>
        </pc:cxnChg>
        <pc:cxnChg chg="add mod">
          <ac:chgData name="Gao, Tianyun (SI BP AUT EA PROD)" userId="25b3c3cc-5a46-4d03-a516-a1293833cff3" providerId="ADAL" clId="{827F7300-70D8-4B8E-8059-E0A9D709BD6E}" dt="2021-10-04T20:13:57.974" v="3946" actId="1076"/>
          <ac:cxnSpMkLst>
            <pc:docMk/>
            <pc:sldMk cId="2117204231" sldId="2597"/>
            <ac:cxnSpMk id="60" creationId="{08542A0D-98D2-4CF9-AAE0-7CE244F0CE61}"/>
          </ac:cxnSpMkLst>
        </pc:cxnChg>
        <pc:cxnChg chg="add mod">
          <ac:chgData name="Gao, Tianyun (SI BP AUT EA PROD)" userId="25b3c3cc-5a46-4d03-a516-a1293833cff3" providerId="ADAL" clId="{827F7300-70D8-4B8E-8059-E0A9D709BD6E}" dt="2021-10-04T20:13:57.974" v="3946" actId="1076"/>
          <ac:cxnSpMkLst>
            <pc:docMk/>
            <pc:sldMk cId="2117204231" sldId="2597"/>
            <ac:cxnSpMk id="61" creationId="{9993E1F7-EB3E-48FA-BCCD-28D3DE77D0DF}"/>
          </ac:cxnSpMkLst>
        </pc:cxnChg>
        <pc:cxnChg chg="add mod">
          <ac:chgData name="Gao, Tianyun (SI BP AUT EA PROD)" userId="25b3c3cc-5a46-4d03-a516-a1293833cff3" providerId="ADAL" clId="{827F7300-70D8-4B8E-8059-E0A9D709BD6E}" dt="2021-10-04T20:13:57.974" v="3946" actId="1076"/>
          <ac:cxnSpMkLst>
            <pc:docMk/>
            <pc:sldMk cId="2117204231" sldId="2597"/>
            <ac:cxnSpMk id="62" creationId="{3C7772F4-B982-4020-8D8B-9EFE86EDE679}"/>
          </ac:cxnSpMkLst>
        </pc:cxnChg>
        <pc:cxnChg chg="add mod">
          <ac:chgData name="Gao, Tianyun (SI BP AUT EA PROD)" userId="25b3c3cc-5a46-4d03-a516-a1293833cff3" providerId="ADAL" clId="{827F7300-70D8-4B8E-8059-E0A9D709BD6E}" dt="2021-10-04T20:13:57.974" v="3946" actId="1076"/>
          <ac:cxnSpMkLst>
            <pc:docMk/>
            <pc:sldMk cId="2117204231" sldId="2597"/>
            <ac:cxnSpMk id="64" creationId="{EF76C080-7356-4484-B74F-C0C3A9989E54}"/>
          </ac:cxnSpMkLst>
        </pc:cxnChg>
        <pc:cxnChg chg="add mod">
          <ac:chgData name="Gao, Tianyun (SI BP AUT EA PROD)" userId="25b3c3cc-5a46-4d03-a516-a1293833cff3" providerId="ADAL" clId="{827F7300-70D8-4B8E-8059-E0A9D709BD6E}" dt="2021-10-04T20:13:57.974" v="3946" actId="1076"/>
          <ac:cxnSpMkLst>
            <pc:docMk/>
            <pc:sldMk cId="2117204231" sldId="2597"/>
            <ac:cxnSpMk id="66" creationId="{5B0F7E9C-2BF2-412A-A3D0-A1648DDD7C49}"/>
          </ac:cxnSpMkLst>
        </pc:cxnChg>
        <pc:cxnChg chg="add mod">
          <ac:chgData name="Gao, Tianyun (SI BP AUT EA PROD)" userId="25b3c3cc-5a46-4d03-a516-a1293833cff3" providerId="ADAL" clId="{827F7300-70D8-4B8E-8059-E0A9D709BD6E}" dt="2021-10-04T20:13:57.974" v="3946" actId="1076"/>
          <ac:cxnSpMkLst>
            <pc:docMk/>
            <pc:sldMk cId="2117204231" sldId="2597"/>
            <ac:cxnSpMk id="67" creationId="{49D6B92A-05DE-4038-9247-93267FD925BF}"/>
          </ac:cxnSpMkLst>
        </pc:cxnChg>
      </pc:sldChg>
    </pc:docChg>
  </pc:docChgLst>
  <pc:docChgLst>
    <pc:chgData name="Müller, Kurt (SI BP S TSS TR)" userId="e7e82c7e-80c6-42a5-ab71-24588885b7fe" providerId="ADAL" clId="{55DB8D51-C910-4CC8-A339-4A3DB7AEA507}"/>
    <pc:docChg chg="custSel addSld delSld modSld sldOrd">
      <pc:chgData name="Müller, Kurt (SI BP S TSS TR)" userId="e7e82c7e-80c6-42a5-ab71-24588885b7fe" providerId="ADAL" clId="{55DB8D51-C910-4CC8-A339-4A3DB7AEA507}" dt="2021-07-23T13:14:52.228" v="805" actId="1076"/>
      <pc:docMkLst>
        <pc:docMk/>
      </pc:docMkLst>
      <pc:sldChg chg="modSp mod modShow">
        <pc:chgData name="Müller, Kurt (SI BP S TSS TR)" userId="e7e82c7e-80c6-42a5-ab71-24588885b7fe" providerId="ADAL" clId="{55DB8D51-C910-4CC8-A339-4A3DB7AEA507}" dt="2021-07-23T13:00:19.815" v="772" actId="729"/>
        <pc:sldMkLst>
          <pc:docMk/>
          <pc:sldMk cId="0" sldId="500"/>
        </pc:sldMkLst>
        <pc:spChg chg="mod">
          <ac:chgData name="Müller, Kurt (SI BP S TSS TR)" userId="e7e82c7e-80c6-42a5-ab71-24588885b7fe" providerId="ADAL" clId="{55DB8D51-C910-4CC8-A339-4A3DB7AEA507}" dt="2021-07-23T13:00:16.591" v="771" actId="20577"/>
          <ac:spMkLst>
            <pc:docMk/>
            <pc:sldMk cId="0" sldId="500"/>
            <ac:spMk id="24" creationId="{72DE5DA1-A112-49BD-A66D-4DCAA387FB12}"/>
          </ac:spMkLst>
        </pc:spChg>
      </pc:sldChg>
      <pc:sldChg chg="mod modShow">
        <pc:chgData name="Müller, Kurt (SI BP S TSS TR)" userId="e7e82c7e-80c6-42a5-ab71-24588885b7fe" providerId="ADAL" clId="{55DB8D51-C910-4CC8-A339-4A3DB7AEA507}" dt="2021-07-23T13:00:31.213" v="773" actId="729"/>
        <pc:sldMkLst>
          <pc:docMk/>
          <pc:sldMk cId="0" sldId="501"/>
        </pc:sldMkLst>
      </pc:sldChg>
      <pc:sldChg chg="modSp mod modShow">
        <pc:chgData name="Müller, Kurt (SI BP S TSS TR)" userId="e7e82c7e-80c6-42a5-ab71-24588885b7fe" providerId="ADAL" clId="{55DB8D51-C910-4CC8-A339-4A3DB7AEA507}" dt="2021-07-23T13:00:46.758" v="774" actId="729"/>
        <pc:sldMkLst>
          <pc:docMk/>
          <pc:sldMk cId="0" sldId="502"/>
        </pc:sldMkLst>
        <pc:spChg chg="mod">
          <ac:chgData name="Müller, Kurt (SI BP S TSS TR)" userId="e7e82c7e-80c6-42a5-ab71-24588885b7fe" providerId="ADAL" clId="{55DB8D51-C910-4CC8-A339-4A3DB7AEA507}" dt="2021-07-23T12:28:48.011" v="339" actId="120"/>
          <ac:spMkLst>
            <pc:docMk/>
            <pc:sldMk cId="0" sldId="502"/>
            <ac:spMk id="7176" creationId="{46AD0BB7-CE91-4407-894E-98FCE5096A41}"/>
          </ac:spMkLst>
        </pc:spChg>
        <pc:spChg chg="mod">
          <ac:chgData name="Müller, Kurt (SI BP S TSS TR)" userId="e7e82c7e-80c6-42a5-ab71-24588885b7fe" providerId="ADAL" clId="{55DB8D51-C910-4CC8-A339-4A3DB7AEA507}" dt="2021-07-23T12:28:48.011" v="339" actId="120"/>
          <ac:spMkLst>
            <pc:docMk/>
            <pc:sldMk cId="0" sldId="502"/>
            <ac:spMk id="7179" creationId="{69771A36-BFDF-47CF-A050-A5E869EA2B8E}"/>
          </ac:spMkLst>
        </pc:spChg>
      </pc:sldChg>
      <pc:sldChg chg="addSp modSp mod modShow">
        <pc:chgData name="Müller, Kurt (SI BP S TSS TR)" userId="e7e82c7e-80c6-42a5-ab71-24588885b7fe" providerId="ADAL" clId="{55DB8D51-C910-4CC8-A339-4A3DB7AEA507}" dt="2021-07-23T13:03:16.148" v="781" actId="729"/>
        <pc:sldMkLst>
          <pc:docMk/>
          <pc:sldMk cId="0" sldId="503"/>
        </pc:sldMkLst>
        <pc:spChg chg="mod">
          <ac:chgData name="Müller, Kurt (SI BP S TSS TR)" userId="e7e82c7e-80c6-42a5-ab71-24588885b7fe" providerId="ADAL" clId="{55DB8D51-C910-4CC8-A339-4A3DB7AEA507}" dt="2021-07-23T13:00:54.173" v="775" actId="1076"/>
          <ac:spMkLst>
            <pc:docMk/>
            <pc:sldMk cId="0" sldId="503"/>
            <ac:spMk id="8199" creationId="{9B961387-19DB-467B-A90B-935A006B203D}"/>
          </ac:spMkLst>
        </pc:spChg>
        <pc:spChg chg="mod">
          <ac:chgData name="Müller, Kurt (SI BP S TSS TR)" userId="e7e82c7e-80c6-42a5-ab71-24588885b7fe" providerId="ADAL" clId="{55DB8D51-C910-4CC8-A339-4A3DB7AEA507}" dt="2021-07-23T13:01:07.053" v="780" actId="1076"/>
          <ac:spMkLst>
            <pc:docMk/>
            <pc:sldMk cId="0" sldId="503"/>
            <ac:spMk id="8204" creationId="{69F0C966-0F8E-425A-A16F-4A4D1A5A7ADD}"/>
          </ac:spMkLst>
        </pc:spChg>
        <pc:grpChg chg="add mod">
          <ac:chgData name="Müller, Kurt (SI BP S TSS TR)" userId="e7e82c7e-80c6-42a5-ab71-24588885b7fe" providerId="ADAL" clId="{55DB8D51-C910-4CC8-A339-4A3DB7AEA507}" dt="2021-07-23T13:01:07.053" v="780" actId="1076"/>
          <ac:grpSpMkLst>
            <pc:docMk/>
            <pc:sldMk cId="0" sldId="503"/>
            <ac:grpSpMk id="2" creationId="{B4DEB013-4B14-42A1-B444-556CDE8BF0B2}"/>
          </ac:grpSpMkLst>
        </pc:grpChg>
        <pc:picChg chg="mod">
          <ac:chgData name="Müller, Kurt (SI BP S TSS TR)" userId="e7e82c7e-80c6-42a5-ab71-24588885b7fe" providerId="ADAL" clId="{55DB8D51-C910-4CC8-A339-4A3DB7AEA507}" dt="2021-07-23T13:01:07.053" v="780" actId="1076"/>
          <ac:picMkLst>
            <pc:docMk/>
            <pc:sldMk cId="0" sldId="503"/>
            <ac:picMk id="8198" creationId="{C707488C-B041-49CA-B3CE-A7AD8F51CA7B}"/>
          </ac:picMkLst>
        </pc:picChg>
        <pc:cxnChg chg="mod">
          <ac:chgData name="Müller, Kurt (SI BP S TSS TR)" userId="e7e82c7e-80c6-42a5-ab71-24588885b7fe" providerId="ADAL" clId="{55DB8D51-C910-4CC8-A339-4A3DB7AEA507}" dt="2021-07-23T13:01:07.053" v="780" actId="1076"/>
          <ac:cxnSpMkLst>
            <pc:docMk/>
            <pc:sldMk cId="0" sldId="503"/>
            <ac:cxnSpMk id="8200" creationId="{01EFB894-6411-424B-910B-5859C214B9D5}"/>
          </ac:cxnSpMkLst>
        </pc:cxnChg>
        <pc:cxnChg chg="mod">
          <ac:chgData name="Müller, Kurt (SI BP S TSS TR)" userId="e7e82c7e-80c6-42a5-ab71-24588885b7fe" providerId="ADAL" clId="{55DB8D51-C910-4CC8-A339-4A3DB7AEA507}" dt="2021-07-23T13:01:07.053" v="780" actId="1076"/>
          <ac:cxnSpMkLst>
            <pc:docMk/>
            <pc:sldMk cId="0" sldId="503"/>
            <ac:cxnSpMk id="8201" creationId="{7B074E25-2533-4D90-A720-88C1421D5E63}"/>
          </ac:cxnSpMkLst>
        </pc:cxnChg>
        <pc:cxnChg chg="mod">
          <ac:chgData name="Müller, Kurt (SI BP S TSS TR)" userId="e7e82c7e-80c6-42a5-ab71-24588885b7fe" providerId="ADAL" clId="{55DB8D51-C910-4CC8-A339-4A3DB7AEA507}" dt="2021-07-23T13:01:07.053" v="780" actId="1076"/>
          <ac:cxnSpMkLst>
            <pc:docMk/>
            <pc:sldMk cId="0" sldId="503"/>
            <ac:cxnSpMk id="8202" creationId="{4777DB94-4AF3-4034-892B-5201D9CD5AD4}"/>
          </ac:cxnSpMkLst>
        </pc:cxnChg>
        <pc:cxnChg chg="mod">
          <ac:chgData name="Müller, Kurt (SI BP S TSS TR)" userId="e7e82c7e-80c6-42a5-ab71-24588885b7fe" providerId="ADAL" clId="{55DB8D51-C910-4CC8-A339-4A3DB7AEA507}" dt="2021-07-23T13:01:07.053" v="780" actId="1076"/>
          <ac:cxnSpMkLst>
            <pc:docMk/>
            <pc:sldMk cId="0" sldId="503"/>
            <ac:cxnSpMk id="8203" creationId="{261ADC4C-20DE-44E3-9C41-1AE826506B03}"/>
          </ac:cxnSpMkLst>
        </pc:cxnChg>
      </pc:sldChg>
      <pc:sldChg chg="modSp mod">
        <pc:chgData name="Müller, Kurt (SI BP S TSS TR)" userId="e7e82c7e-80c6-42a5-ab71-24588885b7fe" providerId="ADAL" clId="{55DB8D51-C910-4CC8-A339-4A3DB7AEA507}" dt="2021-07-23T13:06:12.118" v="796" actId="113"/>
        <pc:sldMkLst>
          <pc:docMk/>
          <pc:sldMk cId="0" sldId="504"/>
        </pc:sldMkLst>
        <pc:spChg chg="mod">
          <ac:chgData name="Müller, Kurt (SI BP S TSS TR)" userId="e7e82c7e-80c6-42a5-ab71-24588885b7fe" providerId="ADAL" clId="{55DB8D51-C910-4CC8-A339-4A3DB7AEA507}" dt="2021-07-23T13:06:12.118" v="796" actId="113"/>
          <ac:spMkLst>
            <pc:docMk/>
            <pc:sldMk cId="0" sldId="504"/>
            <ac:spMk id="10246" creationId="{D0D150FF-6F3F-47B0-8229-0F9659C388D2}"/>
          </ac:spMkLst>
        </pc:spChg>
      </pc:sldChg>
      <pc:sldChg chg="ord">
        <pc:chgData name="Müller, Kurt (SI BP S TSS TR)" userId="e7e82c7e-80c6-42a5-ab71-24588885b7fe" providerId="ADAL" clId="{55DB8D51-C910-4CC8-A339-4A3DB7AEA507}" dt="2021-07-23T13:10:24.572" v="798"/>
        <pc:sldMkLst>
          <pc:docMk/>
          <pc:sldMk cId="0" sldId="507"/>
        </pc:sldMkLst>
      </pc:sldChg>
      <pc:sldChg chg="mod modShow">
        <pc:chgData name="Müller, Kurt (SI BP S TSS TR)" userId="e7e82c7e-80c6-42a5-ab71-24588885b7fe" providerId="ADAL" clId="{55DB8D51-C910-4CC8-A339-4A3DB7AEA507}" dt="2021-07-23T13:10:49.151" v="799" actId="729"/>
        <pc:sldMkLst>
          <pc:docMk/>
          <pc:sldMk cId="0" sldId="508"/>
        </pc:sldMkLst>
      </pc:sldChg>
      <pc:sldChg chg="addSp modSp mod">
        <pc:chgData name="Müller, Kurt (SI BP S TSS TR)" userId="e7e82c7e-80c6-42a5-ab71-24588885b7fe" providerId="ADAL" clId="{55DB8D51-C910-4CC8-A339-4A3DB7AEA507}" dt="2021-07-23T13:14:52.228" v="805" actId="1076"/>
        <pc:sldMkLst>
          <pc:docMk/>
          <pc:sldMk cId="3220879553" sldId="509"/>
        </pc:sldMkLst>
        <pc:spChg chg="add mod">
          <ac:chgData name="Müller, Kurt (SI BP S TSS TR)" userId="e7e82c7e-80c6-42a5-ab71-24588885b7fe" providerId="ADAL" clId="{55DB8D51-C910-4CC8-A339-4A3DB7AEA507}" dt="2021-07-23T13:14:36.272" v="804" actId="14100"/>
          <ac:spMkLst>
            <pc:docMk/>
            <pc:sldMk cId="3220879553" sldId="509"/>
            <ac:spMk id="7" creationId="{A7DD355B-1CCA-4152-B861-77D7474104B2}"/>
          </ac:spMkLst>
        </pc:spChg>
        <pc:spChg chg="mod">
          <ac:chgData name="Müller, Kurt (SI BP S TSS TR)" userId="e7e82c7e-80c6-42a5-ab71-24588885b7fe" providerId="ADAL" clId="{55DB8D51-C910-4CC8-A339-4A3DB7AEA507}" dt="2021-07-23T13:03:31.094" v="795" actId="20577"/>
          <ac:spMkLst>
            <pc:docMk/>
            <pc:sldMk cId="3220879553" sldId="509"/>
            <ac:spMk id="8" creationId="{2714153C-2224-4138-AB37-41749B14D4D8}"/>
          </ac:spMkLst>
        </pc:spChg>
        <pc:spChg chg="mod">
          <ac:chgData name="Müller, Kurt (SI BP S TSS TR)" userId="e7e82c7e-80c6-42a5-ab71-24588885b7fe" providerId="ADAL" clId="{55DB8D51-C910-4CC8-A339-4A3DB7AEA507}" dt="2021-07-23T13:14:52.228" v="805" actId="1076"/>
          <ac:spMkLst>
            <pc:docMk/>
            <pc:sldMk cId="3220879553" sldId="509"/>
            <ac:spMk id="9222" creationId="{59304753-3D28-4631-BD0E-7DBF8A1EA6E1}"/>
          </ac:spMkLst>
        </pc:spChg>
      </pc:sldChg>
      <pc:sldChg chg="mod modShow">
        <pc:chgData name="Müller, Kurt (SI BP S TSS TR)" userId="e7e82c7e-80c6-42a5-ab71-24588885b7fe" providerId="ADAL" clId="{55DB8D51-C910-4CC8-A339-4A3DB7AEA507}" dt="2021-07-23T13:11:16.563" v="801" actId="729"/>
        <pc:sldMkLst>
          <pc:docMk/>
          <pc:sldMk cId="0" sldId="511"/>
        </pc:sldMkLst>
      </pc:sldChg>
      <pc:sldChg chg="addSp delSp modSp del mod">
        <pc:chgData name="Müller, Kurt (SI BP S TSS TR)" userId="e7e82c7e-80c6-42a5-ab71-24588885b7fe" providerId="ADAL" clId="{55DB8D51-C910-4CC8-A339-4A3DB7AEA507}" dt="2021-07-23T12:12:56.830" v="107" actId="2696"/>
        <pc:sldMkLst>
          <pc:docMk/>
          <pc:sldMk cId="218520005" sldId="2576"/>
        </pc:sldMkLst>
        <pc:spChg chg="mod">
          <ac:chgData name="Müller, Kurt (SI BP S TSS TR)" userId="e7e82c7e-80c6-42a5-ab71-24588885b7fe" providerId="ADAL" clId="{55DB8D51-C910-4CC8-A339-4A3DB7AEA507}" dt="2021-07-23T12:05:33.026" v="37" actId="207"/>
          <ac:spMkLst>
            <pc:docMk/>
            <pc:sldMk cId="218520005" sldId="2576"/>
            <ac:spMk id="3" creationId="{6F6B2F90-411C-4CE0-87D6-8540C7987061}"/>
          </ac:spMkLst>
        </pc:spChg>
        <pc:spChg chg="mod">
          <ac:chgData name="Müller, Kurt (SI BP S TSS TR)" userId="e7e82c7e-80c6-42a5-ab71-24588885b7fe" providerId="ADAL" clId="{55DB8D51-C910-4CC8-A339-4A3DB7AEA507}" dt="2021-07-23T12:02:03.682" v="4" actId="1076"/>
          <ac:spMkLst>
            <pc:docMk/>
            <pc:sldMk cId="218520005" sldId="2576"/>
            <ac:spMk id="4" creationId="{27F415B5-B89D-43C5-82FE-486FDB760CC1}"/>
          </ac:spMkLst>
        </pc:spChg>
        <pc:spChg chg="add del mod">
          <ac:chgData name="Müller, Kurt (SI BP S TSS TR)" userId="e7e82c7e-80c6-42a5-ab71-24588885b7fe" providerId="ADAL" clId="{55DB8D51-C910-4CC8-A339-4A3DB7AEA507}" dt="2021-07-23T12:06:46.194" v="53" actId="478"/>
          <ac:spMkLst>
            <pc:docMk/>
            <pc:sldMk cId="218520005" sldId="2576"/>
            <ac:spMk id="7" creationId="{3DA6FB96-D659-4EB1-BA93-74F36C037408}"/>
          </ac:spMkLst>
        </pc:spChg>
        <pc:spChg chg="mod">
          <ac:chgData name="Müller, Kurt (SI BP S TSS TR)" userId="e7e82c7e-80c6-42a5-ab71-24588885b7fe" providerId="ADAL" clId="{55DB8D51-C910-4CC8-A339-4A3DB7AEA507}" dt="2021-07-23T12:05:05.566" v="35" actId="207"/>
          <ac:spMkLst>
            <pc:docMk/>
            <pc:sldMk cId="218520005" sldId="2576"/>
            <ac:spMk id="94" creationId="{F559B03D-39B3-461D-B712-A9AA2ECA4BCD}"/>
          </ac:spMkLst>
        </pc:spChg>
        <pc:spChg chg="mod">
          <ac:chgData name="Müller, Kurt (SI BP S TSS TR)" userId="e7e82c7e-80c6-42a5-ab71-24588885b7fe" providerId="ADAL" clId="{55DB8D51-C910-4CC8-A339-4A3DB7AEA507}" dt="2021-07-23T12:04:40.438" v="33" actId="207"/>
          <ac:spMkLst>
            <pc:docMk/>
            <pc:sldMk cId="218520005" sldId="2576"/>
            <ac:spMk id="102" creationId="{7769C5C0-F3E7-4202-A8AB-0049551A4052}"/>
          </ac:spMkLst>
        </pc:spChg>
        <pc:spChg chg="mod">
          <ac:chgData name="Müller, Kurt (SI BP S TSS TR)" userId="e7e82c7e-80c6-42a5-ab71-24588885b7fe" providerId="ADAL" clId="{55DB8D51-C910-4CC8-A339-4A3DB7AEA507}" dt="2021-07-23T12:07:20.760" v="88" actId="1037"/>
          <ac:spMkLst>
            <pc:docMk/>
            <pc:sldMk cId="218520005" sldId="2576"/>
            <ac:spMk id="111" creationId="{0E4EE65A-2F9D-447F-A308-C671BDABB7CE}"/>
          </ac:spMkLst>
        </pc:spChg>
        <pc:spChg chg="add mod">
          <ac:chgData name="Müller, Kurt (SI BP S TSS TR)" userId="e7e82c7e-80c6-42a5-ab71-24588885b7fe" providerId="ADAL" clId="{55DB8D51-C910-4CC8-A339-4A3DB7AEA507}" dt="2021-07-23T12:06:42.184" v="52" actId="20577"/>
          <ac:spMkLst>
            <pc:docMk/>
            <pc:sldMk cId="218520005" sldId="2576"/>
            <ac:spMk id="136" creationId="{EFAD489D-8113-4E8E-B678-ADB6866DC4BD}"/>
          </ac:spMkLst>
        </pc:spChg>
        <pc:spChg chg="add mod">
          <ac:chgData name="Müller, Kurt (SI BP S TSS TR)" userId="e7e82c7e-80c6-42a5-ab71-24588885b7fe" providerId="ADAL" clId="{55DB8D51-C910-4CC8-A339-4A3DB7AEA507}" dt="2021-07-23T12:07:17.465" v="79" actId="1037"/>
          <ac:spMkLst>
            <pc:docMk/>
            <pc:sldMk cId="218520005" sldId="2576"/>
            <ac:spMk id="137" creationId="{AFD8D3F5-9AAB-4277-8709-FA19C8C39AC1}"/>
          </ac:spMkLst>
        </pc:spChg>
        <pc:spChg chg="add mod">
          <ac:chgData name="Müller, Kurt (SI BP S TSS TR)" userId="e7e82c7e-80c6-42a5-ab71-24588885b7fe" providerId="ADAL" clId="{55DB8D51-C910-4CC8-A339-4A3DB7AEA507}" dt="2021-07-23T12:07:17.465" v="79" actId="1037"/>
          <ac:spMkLst>
            <pc:docMk/>
            <pc:sldMk cId="218520005" sldId="2576"/>
            <ac:spMk id="138" creationId="{80CCCC6D-1ED5-40F1-92A1-A26C60CBD12D}"/>
          </ac:spMkLst>
        </pc:spChg>
        <pc:spChg chg="del">
          <ac:chgData name="Müller, Kurt (SI BP S TSS TR)" userId="e7e82c7e-80c6-42a5-ab71-24588885b7fe" providerId="ADAL" clId="{55DB8D51-C910-4CC8-A339-4A3DB7AEA507}" dt="2021-07-23T11:42:58.020" v="0" actId="478"/>
          <ac:spMkLst>
            <pc:docMk/>
            <pc:sldMk cId="218520005" sldId="2576"/>
            <ac:spMk id="187" creationId="{D961F4C1-3016-4436-A129-96F862608A4F}"/>
          </ac:spMkLst>
        </pc:spChg>
        <pc:spChg chg="del">
          <ac:chgData name="Müller, Kurt (SI BP S TSS TR)" userId="e7e82c7e-80c6-42a5-ab71-24588885b7fe" providerId="ADAL" clId="{55DB8D51-C910-4CC8-A339-4A3DB7AEA507}" dt="2021-07-23T11:42:59.754" v="1" actId="478"/>
          <ac:spMkLst>
            <pc:docMk/>
            <pc:sldMk cId="218520005" sldId="2576"/>
            <ac:spMk id="189" creationId="{01F2A7DE-B837-484D-A1D5-1AFB131B2A31}"/>
          </ac:spMkLst>
        </pc:spChg>
        <pc:spChg chg="del">
          <ac:chgData name="Müller, Kurt (SI BP S TSS TR)" userId="e7e82c7e-80c6-42a5-ab71-24588885b7fe" providerId="ADAL" clId="{55DB8D51-C910-4CC8-A339-4A3DB7AEA507}" dt="2021-07-23T11:42:58.020" v="0" actId="478"/>
          <ac:spMkLst>
            <pc:docMk/>
            <pc:sldMk cId="218520005" sldId="2576"/>
            <ac:spMk id="190" creationId="{20A55C80-6B6A-4E7F-9E87-E47C4DB3B489}"/>
          </ac:spMkLst>
        </pc:spChg>
        <pc:spChg chg="del">
          <ac:chgData name="Müller, Kurt (SI BP S TSS TR)" userId="e7e82c7e-80c6-42a5-ab71-24588885b7fe" providerId="ADAL" clId="{55DB8D51-C910-4CC8-A339-4A3DB7AEA507}" dt="2021-07-23T11:42:58.020" v="0" actId="478"/>
          <ac:spMkLst>
            <pc:docMk/>
            <pc:sldMk cId="218520005" sldId="2576"/>
            <ac:spMk id="191" creationId="{951DFB22-EDD9-4426-A801-B80A585E1F0B}"/>
          </ac:spMkLst>
        </pc:spChg>
        <pc:spChg chg="del">
          <ac:chgData name="Müller, Kurt (SI BP S TSS TR)" userId="e7e82c7e-80c6-42a5-ab71-24588885b7fe" providerId="ADAL" clId="{55DB8D51-C910-4CC8-A339-4A3DB7AEA507}" dt="2021-07-23T11:42:58.020" v="0" actId="478"/>
          <ac:spMkLst>
            <pc:docMk/>
            <pc:sldMk cId="218520005" sldId="2576"/>
            <ac:spMk id="199" creationId="{29878D5C-7DCE-4CF4-B79E-7B4EACDB1C5A}"/>
          </ac:spMkLst>
        </pc:spChg>
        <pc:spChg chg="del">
          <ac:chgData name="Müller, Kurt (SI BP S TSS TR)" userId="e7e82c7e-80c6-42a5-ab71-24588885b7fe" providerId="ADAL" clId="{55DB8D51-C910-4CC8-A339-4A3DB7AEA507}" dt="2021-07-23T11:42:58.020" v="0" actId="478"/>
          <ac:spMkLst>
            <pc:docMk/>
            <pc:sldMk cId="218520005" sldId="2576"/>
            <ac:spMk id="200" creationId="{8DAD6EAC-1C88-40FE-80C7-1B778E1F3E93}"/>
          </ac:spMkLst>
        </pc:spChg>
        <pc:spChg chg="del">
          <ac:chgData name="Müller, Kurt (SI BP S TSS TR)" userId="e7e82c7e-80c6-42a5-ab71-24588885b7fe" providerId="ADAL" clId="{55DB8D51-C910-4CC8-A339-4A3DB7AEA507}" dt="2021-07-23T11:42:58.020" v="0" actId="478"/>
          <ac:spMkLst>
            <pc:docMk/>
            <pc:sldMk cId="218520005" sldId="2576"/>
            <ac:spMk id="201" creationId="{F22FFF72-F635-48AF-96F1-6E219E8E657B}"/>
          </ac:spMkLst>
        </pc:spChg>
        <pc:spChg chg="del">
          <ac:chgData name="Müller, Kurt (SI BP S TSS TR)" userId="e7e82c7e-80c6-42a5-ab71-24588885b7fe" providerId="ADAL" clId="{55DB8D51-C910-4CC8-A339-4A3DB7AEA507}" dt="2021-07-23T11:42:58.020" v="0" actId="478"/>
          <ac:spMkLst>
            <pc:docMk/>
            <pc:sldMk cId="218520005" sldId="2576"/>
            <ac:spMk id="202" creationId="{5BB460E6-FDE4-475B-9942-8ACA0571A2C3}"/>
          </ac:spMkLst>
        </pc:spChg>
        <pc:spChg chg="del">
          <ac:chgData name="Müller, Kurt (SI BP S TSS TR)" userId="e7e82c7e-80c6-42a5-ab71-24588885b7fe" providerId="ADAL" clId="{55DB8D51-C910-4CC8-A339-4A3DB7AEA507}" dt="2021-07-23T11:42:58.020" v="0" actId="478"/>
          <ac:spMkLst>
            <pc:docMk/>
            <pc:sldMk cId="218520005" sldId="2576"/>
            <ac:spMk id="203" creationId="{0C585F87-EE55-42B9-B97E-615745AC0EAD}"/>
          </ac:spMkLst>
        </pc:spChg>
        <pc:spChg chg="del">
          <ac:chgData name="Müller, Kurt (SI BP S TSS TR)" userId="e7e82c7e-80c6-42a5-ab71-24588885b7fe" providerId="ADAL" clId="{55DB8D51-C910-4CC8-A339-4A3DB7AEA507}" dt="2021-07-23T11:42:58.020" v="0" actId="478"/>
          <ac:spMkLst>
            <pc:docMk/>
            <pc:sldMk cId="218520005" sldId="2576"/>
            <ac:spMk id="204" creationId="{AE406BA8-FC96-4507-81F6-1946B6780B72}"/>
          </ac:spMkLst>
        </pc:spChg>
        <pc:spChg chg="del">
          <ac:chgData name="Müller, Kurt (SI BP S TSS TR)" userId="e7e82c7e-80c6-42a5-ab71-24588885b7fe" providerId="ADAL" clId="{55DB8D51-C910-4CC8-A339-4A3DB7AEA507}" dt="2021-07-23T11:42:58.020" v="0" actId="478"/>
          <ac:spMkLst>
            <pc:docMk/>
            <pc:sldMk cId="218520005" sldId="2576"/>
            <ac:spMk id="205" creationId="{4B6D80B8-416F-4C7D-98D3-68035BE794B1}"/>
          </ac:spMkLst>
        </pc:spChg>
        <pc:spChg chg="del">
          <ac:chgData name="Müller, Kurt (SI BP S TSS TR)" userId="e7e82c7e-80c6-42a5-ab71-24588885b7fe" providerId="ADAL" clId="{55DB8D51-C910-4CC8-A339-4A3DB7AEA507}" dt="2021-07-23T11:42:58.020" v="0" actId="478"/>
          <ac:spMkLst>
            <pc:docMk/>
            <pc:sldMk cId="218520005" sldId="2576"/>
            <ac:spMk id="206" creationId="{19325E5B-6F71-4AC0-9FE2-E8598FC4D1CD}"/>
          </ac:spMkLst>
        </pc:spChg>
        <pc:spChg chg="del">
          <ac:chgData name="Müller, Kurt (SI BP S TSS TR)" userId="e7e82c7e-80c6-42a5-ab71-24588885b7fe" providerId="ADAL" clId="{55DB8D51-C910-4CC8-A339-4A3DB7AEA507}" dt="2021-07-23T11:42:58.020" v="0" actId="478"/>
          <ac:spMkLst>
            <pc:docMk/>
            <pc:sldMk cId="218520005" sldId="2576"/>
            <ac:spMk id="207" creationId="{AD33A104-A813-4DCA-BC59-0D8FE261C9EA}"/>
          </ac:spMkLst>
        </pc:spChg>
        <pc:spChg chg="del">
          <ac:chgData name="Müller, Kurt (SI BP S TSS TR)" userId="e7e82c7e-80c6-42a5-ab71-24588885b7fe" providerId="ADAL" clId="{55DB8D51-C910-4CC8-A339-4A3DB7AEA507}" dt="2021-07-23T11:42:58.020" v="0" actId="478"/>
          <ac:spMkLst>
            <pc:docMk/>
            <pc:sldMk cId="218520005" sldId="2576"/>
            <ac:spMk id="208" creationId="{26B4235E-43D0-44C8-B7CB-460DF1B7F856}"/>
          </ac:spMkLst>
        </pc:spChg>
        <pc:spChg chg="del">
          <ac:chgData name="Müller, Kurt (SI BP S TSS TR)" userId="e7e82c7e-80c6-42a5-ab71-24588885b7fe" providerId="ADAL" clId="{55DB8D51-C910-4CC8-A339-4A3DB7AEA507}" dt="2021-07-23T11:42:58.020" v="0" actId="478"/>
          <ac:spMkLst>
            <pc:docMk/>
            <pc:sldMk cId="218520005" sldId="2576"/>
            <ac:spMk id="209" creationId="{EB444458-AB58-4C10-9AD0-0792011C5D4B}"/>
          </ac:spMkLst>
        </pc:spChg>
        <pc:spChg chg="del">
          <ac:chgData name="Müller, Kurt (SI BP S TSS TR)" userId="e7e82c7e-80c6-42a5-ab71-24588885b7fe" providerId="ADAL" clId="{55DB8D51-C910-4CC8-A339-4A3DB7AEA507}" dt="2021-07-23T11:42:58.020" v="0" actId="478"/>
          <ac:spMkLst>
            <pc:docMk/>
            <pc:sldMk cId="218520005" sldId="2576"/>
            <ac:spMk id="210" creationId="{00CD73E1-4B2D-420D-A181-660400CA647D}"/>
          </ac:spMkLst>
        </pc:spChg>
        <pc:spChg chg="del">
          <ac:chgData name="Müller, Kurt (SI BP S TSS TR)" userId="e7e82c7e-80c6-42a5-ab71-24588885b7fe" providerId="ADAL" clId="{55DB8D51-C910-4CC8-A339-4A3DB7AEA507}" dt="2021-07-23T11:42:58.020" v="0" actId="478"/>
          <ac:spMkLst>
            <pc:docMk/>
            <pc:sldMk cId="218520005" sldId="2576"/>
            <ac:spMk id="211" creationId="{0248C509-98AF-4B31-9032-FE798081412D}"/>
          </ac:spMkLst>
        </pc:spChg>
        <pc:spChg chg="del">
          <ac:chgData name="Müller, Kurt (SI BP S TSS TR)" userId="e7e82c7e-80c6-42a5-ab71-24588885b7fe" providerId="ADAL" clId="{55DB8D51-C910-4CC8-A339-4A3DB7AEA507}" dt="2021-07-23T11:42:58.020" v="0" actId="478"/>
          <ac:spMkLst>
            <pc:docMk/>
            <pc:sldMk cId="218520005" sldId="2576"/>
            <ac:spMk id="212" creationId="{2612FBC6-C19E-4F04-9F56-D3C7AF9DCDFD}"/>
          </ac:spMkLst>
        </pc:spChg>
        <pc:spChg chg="mod">
          <ac:chgData name="Müller, Kurt (SI BP S TSS TR)" userId="e7e82c7e-80c6-42a5-ab71-24588885b7fe" providerId="ADAL" clId="{55DB8D51-C910-4CC8-A339-4A3DB7AEA507}" dt="2021-07-23T12:07:42.337" v="96" actId="1076"/>
          <ac:spMkLst>
            <pc:docMk/>
            <pc:sldMk cId="218520005" sldId="2576"/>
            <ac:spMk id="272" creationId="{6CF84B83-B4EF-4DD0-ADC9-8BEE9CF575A3}"/>
          </ac:spMkLst>
        </pc:spChg>
        <pc:spChg chg="mod">
          <ac:chgData name="Müller, Kurt (SI BP S TSS TR)" userId="e7e82c7e-80c6-42a5-ab71-24588885b7fe" providerId="ADAL" clId="{55DB8D51-C910-4CC8-A339-4A3DB7AEA507}" dt="2021-07-23T12:06:13.289" v="43" actId="1076"/>
          <ac:spMkLst>
            <pc:docMk/>
            <pc:sldMk cId="218520005" sldId="2576"/>
            <ac:spMk id="273" creationId="{DBCE9F3F-0485-4094-AD9D-31B03C4A0045}"/>
          </ac:spMkLst>
        </pc:spChg>
        <pc:spChg chg="mod">
          <ac:chgData name="Müller, Kurt (SI BP S TSS TR)" userId="e7e82c7e-80c6-42a5-ab71-24588885b7fe" providerId="ADAL" clId="{55DB8D51-C910-4CC8-A339-4A3DB7AEA507}" dt="2021-07-23T12:07:27.946" v="90" actId="1076"/>
          <ac:spMkLst>
            <pc:docMk/>
            <pc:sldMk cId="218520005" sldId="2576"/>
            <ac:spMk id="1055" creationId="{D1F0EFEE-BAFA-4471-ACCB-A6F7E1FCE945}"/>
          </ac:spMkLst>
        </pc:spChg>
        <pc:grpChg chg="mod">
          <ac:chgData name="Müller, Kurt (SI BP S TSS TR)" userId="e7e82c7e-80c6-42a5-ab71-24588885b7fe" providerId="ADAL" clId="{55DB8D51-C910-4CC8-A339-4A3DB7AEA507}" dt="2021-07-23T12:07:20.760" v="88" actId="1037"/>
          <ac:grpSpMkLst>
            <pc:docMk/>
            <pc:sldMk cId="218520005" sldId="2576"/>
            <ac:grpSpMk id="120" creationId="{7BC5C803-395B-4E9A-A354-6A186F8A4621}"/>
          </ac:grpSpMkLst>
        </pc:grpChg>
        <pc:grpChg chg="mod">
          <ac:chgData name="Müller, Kurt (SI BP S TSS TR)" userId="e7e82c7e-80c6-42a5-ab71-24588885b7fe" providerId="ADAL" clId="{55DB8D51-C910-4CC8-A339-4A3DB7AEA507}" dt="2021-07-23T12:07:17.465" v="79" actId="1037"/>
          <ac:grpSpMkLst>
            <pc:docMk/>
            <pc:sldMk cId="218520005" sldId="2576"/>
            <ac:grpSpMk id="156" creationId="{0457F5DE-B953-44C6-9312-32EC0591EA30}"/>
          </ac:grpSpMkLst>
        </pc:grpChg>
        <pc:grpChg chg="mod">
          <ac:chgData name="Müller, Kurt (SI BP S TSS TR)" userId="e7e82c7e-80c6-42a5-ab71-24588885b7fe" providerId="ADAL" clId="{55DB8D51-C910-4CC8-A339-4A3DB7AEA507}" dt="2021-07-23T12:07:17.465" v="79" actId="1037"/>
          <ac:grpSpMkLst>
            <pc:docMk/>
            <pc:sldMk cId="218520005" sldId="2576"/>
            <ac:grpSpMk id="170" creationId="{677FCABC-3ACB-4897-A218-FF3E7B066DEF}"/>
          </ac:grpSpMkLst>
        </pc:grpChg>
        <pc:grpChg chg="del">
          <ac:chgData name="Müller, Kurt (SI BP S TSS TR)" userId="e7e82c7e-80c6-42a5-ab71-24588885b7fe" providerId="ADAL" clId="{55DB8D51-C910-4CC8-A339-4A3DB7AEA507}" dt="2021-07-23T11:42:58.020" v="0" actId="478"/>
          <ac:grpSpMkLst>
            <pc:docMk/>
            <pc:sldMk cId="218520005" sldId="2576"/>
            <ac:grpSpMk id="213" creationId="{BB08FFEE-DBAA-4EF8-B4E2-28260625979D}"/>
          </ac:grpSpMkLst>
        </pc:grpChg>
        <pc:grpChg chg="del">
          <ac:chgData name="Müller, Kurt (SI BP S TSS TR)" userId="e7e82c7e-80c6-42a5-ab71-24588885b7fe" providerId="ADAL" clId="{55DB8D51-C910-4CC8-A339-4A3DB7AEA507}" dt="2021-07-23T11:42:58.020" v="0" actId="478"/>
          <ac:grpSpMkLst>
            <pc:docMk/>
            <pc:sldMk cId="218520005" sldId="2576"/>
            <ac:grpSpMk id="226" creationId="{ACBA051D-38B6-4E31-8A51-730E80DE4C4E}"/>
          </ac:grpSpMkLst>
        </pc:grpChg>
        <pc:grpChg chg="mod">
          <ac:chgData name="Müller, Kurt (SI BP S TSS TR)" userId="e7e82c7e-80c6-42a5-ab71-24588885b7fe" providerId="ADAL" clId="{55DB8D51-C910-4CC8-A339-4A3DB7AEA507}" dt="2021-07-23T12:07:17.465" v="79" actId="1037"/>
          <ac:grpSpMkLst>
            <pc:docMk/>
            <pc:sldMk cId="218520005" sldId="2576"/>
            <ac:grpSpMk id="1029" creationId="{4ABD8EE3-1BA3-4B31-8704-5EA383EE3856}"/>
          </ac:grpSpMkLst>
        </pc:grpChg>
        <pc:grpChg chg="mod">
          <ac:chgData name="Müller, Kurt (SI BP S TSS TR)" userId="e7e82c7e-80c6-42a5-ab71-24588885b7fe" providerId="ADAL" clId="{55DB8D51-C910-4CC8-A339-4A3DB7AEA507}" dt="2021-07-23T12:07:17.465" v="79" actId="1037"/>
          <ac:grpSpMkLst>
            <pc:docMk/>
            <pc:sldMk cId="218520005" sldId="2576"/>
            <ac:grpSpMk id="1030" creationId="{2CA9236E-499F-4B2E-8F84-1F793AA2F199}"/>
          </ac:grpSpMkLst>
        </pc:grpChg>
        <pc:graphicFrameChg chg="del">
          <ac:chgData name="Müller, Kurt (SI BP S TSS TR)" userId="e7e82c7e-80c6-42a5-ab71-24588885b7fe" providerId="ADAL" clId="{55DB8D51-C910-4CC8-A339-4A3DB7AEA507}" dt="2021-07-23T11:42:58.020" v="0" actId="478"/>
          <ac:graphicFrameMkLst>
            <pc:docMk/>
            <pc:sldMk cId="218520005" sldId="2576"/>
            <ac:graphicFrameMk id="1048" creationId="{2B8F322D-9305-4662-A67E-916DED4AEB03}"/>
          </ac:graphicFrameMkLst>
        </pc:graphicFrameChg>
        <pc:picChg chg="add mod">
          <ac:chgData name="Müller, Kurt (SI BP S TSS TR)" userId="e7e82c7e-80c6-42a5-ab71-24588885b7fe" providerId="ADAL" clId="{55DB8D51-C910-4CC8-A339-4A3DB7AEA507}" dt="2021-07-23T12:07:12.441" v="63" actId="1076"/>
          <ac:picMkLst>
            <pc:docMk/>
            <pc:sldMk cId="218520005" sldId="2576"/>
            <ac:picMk id="6" creationId="{79037D49-C682-4EFB-99B6-9777C546A47A}"/>
          </ac:picMkLst>
        </pc:picChg>
        <pc:picChg chg="mod">
          <ac:chgData name="Müller, Kurt (SI BP S TSS TR)" userId="e7e82c7e-80c6-42a5-ab71-24588885b7fe" providerId="ADAL" clId="{55DB8D51-C910-4CC8-A339-4A3DB7AEA507}" dt="2021-07-23T12:08:00.970" v="103" actId="1076"/>
          <ac:picMkLst>
            <pc:docMk/>
            <pc:sldMk cId="218520005" sldId="2576"/>
            <ac:picMk id="109" creationId="{74CF508A-544C-41D6-9E1F-4013AA2E7F87}"/>
          </ac:picMkLst>
        </pc:picChg>
        <pc:picChg chg="del mod">
          <ac:chgData name="Müller, Kurt (SI BP S TSS TR)" userId="e7e82c7e-80c6-42a5-ab71-24588885b7fe" providerId="ADAL" clId="{55DB8D51-C910-4CC8-A339-4A3DB7AEA507}" dt="2021-07-23T12:07:53.530" v="98" actId="478"/>
          <ac:picMkLst>
            <pc:docMk/>
            <pc:sldMk cId="218520005" sldId="2576"/>
            <ac:picMk id="1026" creationId="{8B27365B-8CD9-4964-A89F-E605EE0BBD1C}"/>
          </ac:picMkLst>
        </pc:picChg>
        <pc:cxnChg chg="mod">
          <ac:chgData name="Müller, Kurt (SI BP S TSS TR)" userId="e7e82c7e-80c6-42a5-ab71-24588885b7fe" providerId="ADAL" clId="{55DB8D51-C910-4CC8-A339-4A3DB7AEA507}" dt="2021-07-23T12:07:20.760" v="88" actId="1037"/>
          <ac:cxnSpMkLst>
            <pc:docMk/>
            <pc:sldMk cId="218520005" sldId="2576"/>
            <ac:cxnSpMk id="112" creationId="{3B5DB2A6-A4F6-41B5-93D5-D339C358EEFC}"/>
          </ac:cxnSpMkLst>
        </pc:cxnChg>
        <pc:cxnChg chg="mod">
          <ac:chgData name="Müller, Kurt (SI BP S TSS TR)" userId="e7e82c7e-80c6-42a5-ab71-24588885b7fe" providerId="ADAL" clId="{55DB8D51-C910-4CC8-A339-4A3DB7AEA507}" dt="2021-07-23T12:07:20.760" v="88" actId="1037"/>
          <ac:cxnSpMkLst>
            <pc:docMk/>
            <pc:sldMk cId="218520005" sldId="2576"/>
            <ac:cxnSpMk id="115" creationId="{324D32CF-9913-4CC5-A672-D92FEDAA6B7B}"/>
          </ac:cxnSpMkLst>
        </pc:cxnChg>
        <pc:cxnChg chg="mod">
          <ac:chgData name="Müller, Kurt (SI BP S TSS TR)" userId="e7e82c7e-80c6-42a5-ab71-24588885b7fe" providerId="ADAL" clId="{55DB8D51-C910-4CC8-A339-4A3DB7AEA507}" dt="2021-07-23T12:07:17.465" v="79" actId="1037"/>
          <ac:cxnSpMkLst>
            <pc:docMk/>
            <pc:sldMk cId="218520005" sldId="2576"/>
            <ac:cxnSpMk id="165" creationId="{1F45ED20-E096-493E-9D0F-779043EDFCA7}"/>
          </ac:cxnSpMkLst>
        </pc:cxnChg>
        <pc:cxnChg chg="mod">
          <ac:chgData name="Müller, Kurt (SI BP S TSS TR)" userId="e7e82c7e-80c6-42a5-ab71-24588885b7fe" providerId="ADAL" clId="{55DB8D51-C910-4CC8-A339-4A3DB7AEA507}" dt="2021-07-23T12:07:17.465" v="79" actId="1037"/>
          <ac:cxnSpMkLst>
            <pc:docMk/>
            <pc:sldMk cId="218520005" sldId="2576"/>
            <ac:cxnSpMk id="168" creationId="{93B3406C-91EB-45F5-B154-11DDA4E55F5E}"/>
          </ac:cxnSpMkLst>
        </pc:cxnChg>
        <pc:cxnChg chg="mod">
          <ac:chgData name="Müller, Kurt (SI BP S TSS TR)" userId="e7e82c7e-80c6-42a5-ab71-24588885b7fe" providerId="ADAL" clId="{55DB8D51-C910-4CC8-A339-4A3DB7AEA507}" dt="2021-07-23T12:07:17.465" v="79" actId="1037"/>
          <ac:cxnSpMkLst>
            <pc:docMk/>
            <pc:sldMk cId="218520005" sldId="2576"/>
            <ac:cxnSpMk id="169" creationId="{75EF1636-16D8-4767-ACFE-A1710990DF42}"/>
          </ac:cxnSpMkLst>
        </pc:cxnChg>
        <pc:cxnChg chg="mod">
          <ac:chgData name="Müller, Kurt (SI BP S TSS TR)" userId="e7e82c7e-80c6-42a5-ab71-24588885b7fe" providerId="ADAL" clId="{55DB8D51-C910-4CC8-A339-4A3DB7AEA507}" dt="2021-07-23T12:07:17.465" v="79" actId="1037"/>
          <ac:cxnSpMkLst>
            <pc:docMk/>
            <pc:sldMk cId="218520005" sldId="2576"/>
            <ac:cxnSpMk id="1041" creationId="{AA79F5A4-5718-4431-91A5-C5C964C25856}"/>
          </ac:cxnSpMkLst>
        </pc:cxnChg>
      </pc:sldChg>
      <pc:sldChg chg="delSp modSp add mod">
        <pc:chgData name="Müller, Kurt (SI BP S TSS TR)" userId="e7e82c7e-80c6-42a5-ab71-24588885b7fe" providerId="ADAL" clId="{55DB8D51-C910-4CC8-A339-4A3DB7AEA507}" dt="2021-07-23T12:38:26.518" v="566" actId="1076"/>
        <pc:sldMkLst>
          <pc:docMk/>
          <pc:sldMk cId="606386633" sldId="2576"/>
        </pc:sldMkLst>
        <pc:spChg chg="del">
          <ac:chgData name="Müller, Kurt (SI BP S TSS TR)" userId="e7e82c7e-80c6-42a5-ab71-24588885b7fe" providerId="ADAL" clId="{55DB8D51-C910-4CC8-A339-4A3DB7AEA507}" dt="2021-07-23T12:35:48.454" v="564" actId="478"/>
          <ac:spMkLst>
            <pc:docMk/>
            <pc:sldMk cId="606386633" sldId="2576"/>
            <ac:spMk id="4" creationId="{27F415B5-B89D-43C5-82FE-486FDB760CC1}"/>
          </ac:spMkLst>
        </pc:spChg>
        <pc:spChg chg="mod">
          <ac:chgData name="Müller, Kurt (SI BP S TSS TR)" userId="e7e82c7e-80c6-42a5-ab71-24588885b7fe" providerId="ADAL" clId="{55DB8D51-C910-4CC8-A339-4A3DB7AEA507}" dt="2021-07-23T12:35:35.975" v="563" actId="6549"/>
          <ac:spMkLst>
            <pc:docMk/>
            <pc:sldMk cId="606386633" sldId="2576"/>
            <ac:spMk id="47" creationId="{280AB5EB-1010-4300-AABD-DD8BF9A2B905}"/>
          </ac:spMkLst>
        </pc:spChg>
        <pc:spChg chg="mod">
          <ac:chgData name="Müller, Kurt (SI BP S TSS TR)" userId="e7e82c7e-80c6-42a5-ab71-24588885b7fe" providerId="ADAL" clId="{55DB8D51-C910-4CC8-A339-4A3DB7AEA507}" dt="2021-07-23T12:13:42.809" v="110" actId="1076"/>
          <ac:spMkLst>
            <pc:docMk/>
            <pc:sldMk cId="606386633" sldId="2576"/>
            <ac:spMk id="272" creationId="{6CF84B83-B4EF-4DD0-ADC9-8BEE9CF575A3}"/>
          </ac:spMkLst>
        </pc:spChg>
        <pc:picChg chg="mod">
          <ac:chgData name="Müller, Kurt (SI BP S TSS TR)" userId="e7e82c7e-80c6-42a5-ab71-24588885b7fe" providerId="ADAL" clId="{55DB8D51-C910-4CC8-A339-4A3DB7AEA507}" dt="2021-07-23T12:38:26.518" v="566" actId="1076"/>
          <ac:picMkLst>
            <pc:docMk/>
            <pc:sldMk cId="606386633" sldId="2576"/>
            <ac:picMk id="6" creationId="{79037D49-C682-4EFB-99B6-9777C546A47A}"/>
          </ac:picMkLst>
        </pc:picChg>
        <pc:picChg chg="ord">
          <ac:chgData name="Müller, Kurt (SI BP S TSS TR)" userId="e7e82c7e-80c6-42a5-ab71-24588885b7fe" providerId="ADAL" clId="{55DB8D51-C910-4CC8-A339-4A3DB7AEA507}" dt="2021-07-23T12:35:18.608" v="542" actId="167"/>
          <ac:picMkLst>
            <pc:docMk/>
            <pc:sldMk cId="606386633" sldId="2576"/>
            <ac:picMk id="186" creationId="{AA1F9A0C-1963-4335-9CBE-7DF1A48B16F0}"/>
          </ac:picMkLst>
        </pc:picChg>
        <pc:picChg chg="del">
          <ac:chgData name="Müller, Kurt (SI BP S TSS TR)" userId="e7e82c7e-80c6-42a5-ab71-24588885b7fe" providerId="ADAL" clId="{55DB8D51-C910-4CC8-A339-4A3DB7AEA507}" dt="2021-07-23T12:35:49.757" v="565" actId="478"/>
          <ac:picMkLst>
            <pc:docMk/>
            <pc:sldMk cId="606386633" sldId="2576"/>
            <ac:picMk id="276" creationId="{2F99B504-38C4-40EE-9077-41824EAFAEAF}"/>
          </ac:picMkLst>
        </pc:picChg>
      </pc:sldChg>
      <pc:sldChg chg="modSp mod">
        <pc:chgData name="Müller, Kurt (SI BP S TSS TR)" userId="e7e82c7e-80c6-42a5-ab71-24588885b7fe" providerId="ADAL" clId="{55DB8D51-C910-4CC8-A339-4A3DB7AEA507}" dt="2021-07-23T12:20:10.737" v="179" actId="20577"/>
        <pc:sldMkLst>
          <pc:docMk/>
          <pc:sldMk cId="2389844200" sldId="2582"/>
        </pc:sldMkLst>
        <pc:spChg chg="mod">
          <ac:chgData name="Müller, Kurt (SI BP S TSS TR)" userId="e7e82c7e-80c6-42a5-ab71-24588885b7fe" providerId="ADAL" clId="{55DB8D51-C910-4CC8-A339-4A3DB7AEA507}" dt="2021-07-23T12:20:10.737" v="179" actId="20577"/>
          <ac:spMkLst>
            <pc:docMk/>
            <pc:sldMk cId="2389844200" sldId="2582"/>
            <ac:spMk id="7" creationId="{F1C72932-A1AF-414C-AA2E-197BBE995B80}"/>
          </ac:spMkLst>
        </pc:spChg>
      </pc:sldChg>
      <pc:sldChg chg="modSp mod">
        <pc:chgData name="Müller, Kurt (SI BP S TSS TR)" userId="e7e82c7e-80c6-42a5-ab71-24588885b7fe" providerId="ADAL" clId="{55DB8D51-C910-4CC8-A339-4A3DB7AEA507}" dt="2021-07-23T12:26:30.871" v="337" actId="20577"/>
        <pc:sldMkLst>
          <pc:docMk/>
          <pc:sldMk cId="1402478112" sldId="2583"/>
        </pc:sldMkLst>
        <pc:spChg chg="mod">
          <ac:chgData name="Müller, Kurt (SI BP S TSS TR)" userId="e7e82c7e-80c6-42a5-ab71-24588885b7fe" providerId="ADAL" clId="{55DB8D51-C910-4CC8-A339-4A3DB7AEA507}" dt="2021-07-23T12:26:30.871" v="337" actId="20577"/>
          <ac:spMkLst>
            <pc:docMk/>
            <pc:sldMk cId="1402478112" sldId="2583"/>
            <ac:spMk id="7" creationId="{ACAB2C52-5885-4E21-B99C-8FB0774DE9B6}"/>
          </ac:spMkLst>
        </pc:spChg>
      </pc:sldChg>
      <pc:sldChg chg="del">
        <pc:chgData name="Müller, Kurt (SI BP S TSS TR)" userId="e7e82c7e-80c6-42a5-ab71-24588885b7fe" providerId="ADAL" clId="{55DB8D51-C910-4CC8-A339-4A3DB7AEA507}" dt="2021-07-23T12:39:26.040" v="567" actId="47"/>
        <pc:sldMkLst>
          <pc:docMk/>
          <pc:sldMk cId="342781692" sldId="2586"/>
        </pc:sldMkLst>
      </pc:sldChg>
      <pc:sldChg chg="addSp modSp mod">
        <pc:chgData name="Müller, Kurt (SI BP S TSS TR)" userId="e7e82c7e-80c6-42a5-ab71-24588885b7fe" providerId="ADAL" clId="{55DB8D51-C910-4CC8-A339-4A3DB7AEA507}" dt="2021-07-23T12:58:11.780" v="767" actId="1076"/>
        <pc:sldMkLst>
          <pc:docMk/>
          <pc:sldMk cId="2399341281" sldId="2587"/>
        </pc:sldMkLst>
        <pc:spChg chg="add mod">
          <ac:chgData name="Müller, Kurt (SI BP S TSS TR)" userId="e7e82c7e-80c6-42a5-ab71-24588885b7fe" providerId="ADAL" clId="{55DB8D51-C910-4CC8-A339-4A3DB7AEA507}" dt="2021-07-23T12:58:11.780" v="767" actId="1076"/>
          <ac:spMkLst>
            <pc:docMk/>
            <pc:sldMk cId="2399341281" sldId="2587"/>
            <ac:spMk id="3" creationId="{22D391B4-5061-4DB2-A409-2E4852C3D77C}"/>
          </ac:spMkLst>
        </pc:spChg>
        <pc:spChg chg="add mod">
          <ac:chgData name="Müller, Kurt (SI BP S TSS TR)" userId="e7e82c7e-80c6-42a5-ab71-24588885b7fe" providerId="ADAL" clId="{55DB8D51-C910-4CC8-A339-4A3DB7AEA507}" dt="2021-07-23T12:52:54.629" v="613" actId="1076"/>
          <ac:spMkLst>
            <pc:docMk/>
            <pc:sldMk cId="2399341281" sldId="2587"/>
            <ac:spMk id="11" creationId="{E0C498FE-49DB-4F81-9F1A-43A9AFFE9061}"/>
          </ac:spMkLst>
        </pc:spChg>
        <pc:spChg chg="add mod">
          <ac:chgData name="Müller, Kurt (SI BP S TSS TR)" userId="e7e82c7e-80c6-42a5-ab71-24588885b7fe" providerId="ADAL" clId="{55DB8D51-C910-4CC8-A339-4A3DB7AEA507}" dt="2021-07-23T12:54:52.996" v="731" actId="1076"/>
          <ac:spMkLst>
            <pc:docMk/>
            <pc:sldMk cId="2399341281" sldId="2587"/>
            <ac:spMk id="12" creationId="{078E0E7D-A718-49F4-94EF-B8673853D049}"/>
          </ac:spMkLst>
        </pc:spChg>
        <pc:spChg chg="mod">
          <ac:chgData name="Müller, Kurt (SI BP S TSS TR)" userId="e7e82c7e-80c6-42a5-ab71-24588885b7fe" providerId="ADAL" clId="{55DB8D51-C910-4CC8-A339-4A3DB7AEA507}" dt="2021-07-23T12:43:18.326" v="587" actId="20577"/>
          <ac:spMkLst>
            <pc:docMk/>
            <pc:sldMk cId="2399341281" sldId="2587"/>
            <ac:spMk id="23" creationId="{A9D7DEF1-983A-4481-8ADB-8E5C8BE63BDF}"/>
          </ac:spMkLst>
        </pc:spChg>
        <pc:spChg chg="mod">
          <ac:chgData name="Müller, Kurt (SI BP S TSS TR)" userId="e7e82c7e-80c6-42a5-ab71-24588885b7fe" providerId="ADAL" clId="{55DB8D51-C910-4CC8-A339-4A3DB7AEA507}" dt="2021-07-23T12:43:21.653" v="588" actId="1076"/>
          <ac:spMkLst>
            <pc:docMk/>
            <pc:sldMk cId="2399341281" sldId="2587"/>
            <ac:spMk id="26" creationId="{A63B4171-69BB-4CCE-B3D2-4150067D1AAD}"/>
          </ac:spMkLst>
        </pc:spChg>
        <pc:spChg chg="mod">
          <ac:chgData name="Müller, Kurt (SI BP S TSS TR)" userId="e7e82c7e-80c6-42a5-ab71-24588885b7fe" providerId="ADAL" clId="{55DB8D51-C910-4CC8-A339-4A3DB7AEA507}" dt="2021-07-23T12:43:21.653" v="588" actId="1076"/>
          <ac:spMkLst>
            <pc:docMk/>
            <pc:sldMk cId="2399341281" sldId="2587"/>
            <ac:spMk id="30" creationId="{785D7C1F-2520-4945-9D56-54DC8AE4F309}"/>
          </ac:spMkLst>
        </pc:spChg>
        <pc:grpChg chg="mod">
          <ac:chgData name="Müller, Kurt (SI BP S TSS TR)" userId="e7e82c7e-80c6-42a5-ab71-24588885b7fe" providerId="ADAL" clId="{55DB8D51-C910-4CC8-A339-4A3DB7AEA507}" dt="2021-07-23T12:43:21.653" v="588" actId="1076"/>
          <ac:grpSpMkLst>
            <pc:docMk/>
            <pc:sldMk cId="2399341281" sldId="2587"/>
            <ac:grpSpMk id="22" creationId="{3A2FBA37-DB47-423C-A875-32DDEC8CDA6B}"/>
          </ac:grpSpMkLst>
        </pc:grpChg>
        <pc:grpChg chg="mod">
          <ac:chgData name="Müller, Kurt (SI BP S TSS TR)" userId="e7e82c7e-80c6-42a5-ab71-24588885b7fe" providerId="ADAL" clId="{55DB8D51-C910-4CC8-A339-4A3DB7AEA507}" dt="2021-07-23T12:43:21.653" v="588" actId="1076"/>
          <ac:grpSpMkLst>
            <pc:docMk/>
            <pc:sldMk cId="2399341281" sldId="2587"/>
            <ac:grpSpMk id="29" creationId="{A797E999-E797-46CB-9AEE-D6841F78E3E4}"/>
          </ac:grpSpMkLst>
        </pc:grpChg>
        <pc:picChg chg="mod">
          <ac:chgData name="Müller, Kurt (SI BP S TSS TR)" userId="e7e82c7e-80c6-42a5-ab71-24588885b7fe" providerId="ADAL" clId="{55DB8D51-C910-4CC8-A339-4A3DB7AEA507}" dt="2021-07-23T12:43:21.653" v="588" actId="1076"/>
          <ac:picMkLst>
            <pc:docMk/>
            <pc:sldMk cId="2399341281" sldId="2587"/>
            <ac:picMk id="31" creationId="{65144A38-C627-48CF-9752-76126A4BC2FD}"/>
          </ac:picMkLst>
        </pc:picChg>
      </pc:sldChg>
      <pc:sldChg chg="addSp modSp mod">
        <pc:chgData name="Müller, Kurt (SI BP S TSS TR)" userId="e7e82c7e-80c6-42a5-ab71-24588885b7fe" providerId="ADAL" clId="{55DB8D51-C910-4CC8-A339-4A3DB7AEA507}" dt="2021-07-23T12:53:44.830" v="708" actId="20577"/>
        <pc:sldMkLst>
          <pc:docMk/>
          <pc:sldMk cId="3433220361" sldId="2588"/>
        </pc:sldMkLst>
        <pc:spChg chg="add mod">
          <ac:chgData name="Müller, Kurt (SI BP S TSS TR)" userId="e7e82c7e-80c6-42a5-ab71-24588885b7fe" providerId="ADAL" clId="{55DB8D51-C910-4CC8-A339-4A3DB7AEA507}" dt="2021-07-23T12:47:42.151" v="611" actId="14100"/>
          <ac:spMkLst>
            <pc:docMk/>
            <pc:sldMk cId="3433220361" sldId="2588"/>
            <ac:spMk id="11" creationId="{DA2AED21-6156-4C29-99E5-0D1895C07DFA}"/>
          </ac:spMkLst>
        </pc:spChg>
        <pc:spChg chg="add mod">
          <ac:chgData name="Müller, Kurt (SI BP S TSS TR)" userId="e7e82c7e-80c6-42a5-ab71-24588885b7fe" providerId="ADAL" clId="{55DB8D51-C910-4CC8-A339-4A3DB7AEA507}" dt="2021-07-23T12:53:44.830" v="708" actId="20577"/>
          <ac:spMkLst>
            <pc:docMk/>
            <pc:sldMk cId="3433220361" sldId="2588"/>
            <ac:spMk id="12" creationId="{660260EE-96A2-4A7B-AC33-FC01E0AFE1C9}"/>
          </ac:spMkLst>
        </pc:spChg>
        <pc:spChg chg="mod">
          <ac:chgData name="Müller, Kurt (SI BP S TSS TR)" userId="e7e82c7e-80c6-42a5-ab71-24588885b7fe" providerId="ADAL" clId="{55DB8D51-C910-4CC8-A339-4A3DB7AEA507}" dt="2021-07-23T12:44:28.543" v="606" actId="20577"/>
          <ac:spMkLst>
            <pc:docMk/>
            <pc:sldMk cId="3433220361" sldId="2588"/>
            <ac:spMk id="23" creationId="{A9D7DEF1-983A-4481-8ADB-8E5C8BE63BDF}"/>
          </ac:spMkLst>
        </pc:spChg>
        <pc:spChg chg="mod">
          <ac:chgData name="Müller, Kurt (SI BP S TSS TR)" userId="e7e82c7e-80c6-42a5-ab71-24588885b7fe" providerId="ADAL" clId="{55DB8D51-C910-4CC8-A339-4A3DB7AEA507}" dt="2021-07-23T12:44:30.493" v="607" actId="1076"/>
          <ac:spMkLst>
            <pc:docMk/>
            <pc:sldMk cId="3433220361" sldId="2588"/>
            <ac:spMk id="26" creationId="{A63B4171-69BB-4CCE-B3D2-4150067D1AAD}"/>
          </ac:spMkLst>
        </pc:spChg>
        <pc:spChg chg="mod">
          <ac:chgData name="Müller, Kurt (SI BP S TSS TR)" userId="e7e82c7e-80c6-42a5-ab71-24588885b7fe" providerId="ADAL" clId="{55DB8D51-C910-4CC8-A339-4A3DB7AEA507}" dt="2021-07-23T12:44:30.493" v="607" actId="1076"/>
          <ac:spMkLst>
            <pc:docMk/>
            <pc:sldMk cId="3433220361" sldId="2588"/>
            <ac:spMk id="30" creationId="{785D7C1F-2520-4945-9D56-54DC8AE4F309}"/>
          </ac:spMkLst>
        </pc:spChg>
        <pc:grpChg chg="mod">
          <ac:chgData name="Müller, Kurt (SI BP S TSS TR)" userId="e7e82c7e-80c6-42a5-ab71-24588885b7fe" providerId="ADAL" clId="{55DB8D51-C910-4CC8-A339-4A3DB7AEA507}" dt="2021-07-23T12:44:30.493" v="607" actId="1076"/>
          <ac:grpSpMkLst>
            <pc:docMk/>
            <pc:sldMk cId="3433220361" sldId="2588"/>
            <ac:grpSpMk id="22" creationId="{3A2FBA37-DB47-423C-A875-32DDEC8CDA6B}"/>
          </ac:grpSpMkLst>
        </pc:grpChg>
        <pc:grpChg chg="mod">
          <ac:chgData name="Müller, Kurt (SI BP S TSS TR)" userId="e7e82c7e-80c6-42a5-ab71-24588885b7fe" providerId="ADAL" clId="{55DB8D51-C910-4CC8-A339-4A3DB7AEA507}" dt="2021-07-23T12:44:30.493" v="607" actId="1076"/>
          <ac:grpSpMkLst>
            <pc:docMk/>
            <pc:sldMk cId="3433220361" sldId="2588"/>
            <ac:grpSpMk id="29" creationId="{A797E999-E797-46CB-9AEE-D6841F78E3E4}"/>
          </ac:grpSpMkLst>
        </pc:grpChg>
        <pc:picChg chg="mod">
          <ac:chgData name="Müller, Kurt (SI BP S TSS TR)" userId="e7e82c7e-80c6-42a5-ab71-24588885b7fe" providerId="ADAL" clId="{55DB8D51-C910-4CC8-A339-4A3DB7AEA507}" dt="2021-07-23T12:44:30.493" v="607" actId="1076"/>
          <ac:picMkLst>
            <pc:docMk/>
            <pc:sldMk cId="3433220361" sldId="2588"/>
            <ac:picMk id="31" creationId="{65144A38-C627-48CF-9752-76126A4BC2FD}"/>
          </ac:picMkLst>
        </pc:picChg>
      </pc:sldChg>
      <pc:sldChg chg="addSp delSp modSp add mod">
        <pc:chgData name="Müller, Kurt (SI BP S TSS TR)" userId="e7e82c7e-80c6-42a5-ab71-24588885b7fe" providerId="ADAL" clId="{55DB8D51-C910-4CC8-A339-4A3DB7AEA507}" dt="2021-07-23T12:12:10.562" v="106"/>
        <pc:sldMkLst>
          <pc:docMk/>
          <pc:sldMk cId="2805445751" sldId="2589"/>
        </pc:sldMkLst>
        <pc:spChg chg="add mod">
          <ac:chgData name="Müller, Kurt (SI BP S TSS TR)" userId="e7e82c7e-80c6-42a5-ab71-24588885b7fe" providerId="ADAL" clId="{55DB8D51-C910-4CC8-A339-4A3DB7AEA507}" dt="2021-07-23T12:12:10.562" v="106"/>
          <ac:spMkLst>
            <pc:docMk/>
            <pc:sldMk cId="2805445751" sldId="2589"/>
            <ac:spMk id="73" creationId="{78D060EE-7A83-47E5-B7B9-9652F637B1CA}"/>
          </ac:spMkLst>
        </pc:spChg>
        <pc:spChg chg="add mod">
          <ac:chgData name="Müller, Kurt (SI BP S TSS TR)" userId="e7e82c7e-80c6-42a5-ab71-24588885b7fe" providerId="ADAL" clId="{55DB8D51-C910-4CC8-A339-4A3DB7AEA507}" dt="2021-07-23T12:12:10.562" v="106"/>
          <ac:spMkLst>
            <pc:docMk/>
            <pc:sldMk cId="2805445751" sldId="2589"/>
            <ac:spMk id="74" creationId="{2B27DE1D-5AD1-4A15-B564-BB45864D2E5F}"/>
          </ac:spMkLst>
        </pc:spChg>
        <pc:spChg chg="add mod">
          <ac:chgData name="Müller, Kurt (SI BP S TSS TR)" userId="e7e82c7e-80c6-42a5-ab71-24588885b7fe" providerId="ADAL" clId="{55DB8D51-C910-4CC8-A339-4A3DB7AEA507}" dt="2021-07-23T12:12:10.562" v="106"/>
          <ac:spMkLst>
            <pc:docMk/>
            <pc:sldMk cId="2805445751" sldId="2589"/>
            <ac:spMk id="75" creationId="{330A0D94-0502-4045-A624-133B8C683C7B}"/>
          </ac:spMkLst>
        </pc:spChg>
        <pc:spChg chg="add mod">
          <ac:chgData name="Müller, Kurt (SI BP S TSS TR)" userId="e7e82c7e-80c6-42a5-ab71-24588885b7fe" providerId="ADAL" clId="{55DB8D51-C910-4CC8-A339-4A3DB7AEA507}" dt="2021-07-23T12:12:10.562" v="106"/>
          <ac:spMkLst>
            <pc:docMk/>
            <pc:sldMk cId="2805445751" sldId="2589"/>
            <ac:spMk id="76" creationId="{AB24A7DE-68F0-49D7-BFDE-B451FCB92A87}"/>
          </ac:spMkLst>
        </pc:spChg>
        <pc:spChg chg="add mod">
          <ac:chgData name="Müller, Kurt (SI BP S TSS TR)" userId="e7e82c7e-80c6-42a5-ab71-24588885b7fe" providerId="ADAL" clId="{55DB8D51-C910-4CC8-A339-4A3DB7AEA507}" dt="2021-07-23T12:12:10.562" v="106"/>
          <ac:spMkLst>
            <pc:docMk/>
            <pc:sldMk cId="2805445751" sldId="2589"/>
            <ac:spMk id="77" creationId="{77DB06BF-2BCD-4E27-9168-2DB1B3C0FC9F}"/>
          </ac:spMkLst>
        </pc:spChg>
        <pc:spChg chg="add mod">
          <ac:chgData name="Müller, Kurt (SI BP S TSS TR)" userId="e7e82c7e-80c6-42a5-ab71-24588885b7fe" providerId="ADAL" clId="{55DB8D51-C910-4CC8-A339-4A3DB7AEA507}" dt="2021-07-23T12:12:10.562" v="106"/>
          <ac:spMkLst>
            <pc:docMk/>
            <pc:sldMk cId="2805445751" sldId="2589"/>
            <ac:spMk id="78" creationId="{6C5588A3-9C5D-4529-B180-A30CB25F4B21}"/>
          </ac:spMkLst>
        </pc:spChg>
        <pc:spChg chg="add mod">
          <ac:chgData name="Müller, Kurt (SI BP S TSS TR)" userId="e7e82c7e-80c6-42a5-ab71-24588885b7fe" providerId="ADAL" clId="{55DB8D51-C910-4CC8-A339-4A3DB7AEA507}" dt="2021-07-23T12:12:10.562" v="106"/>
          <ac:spMkLst>
            <pc:docMk/>
            <pc:sldMk cId="2805445751" sldId="2589"/>
            <ac:spMk id="79" creationId="{6BB1576C-EEB0-43A9-8FE9-B72DFE087B43}"/>
          </ac:spMkLst>
        </pc:spChg>
        <pc:spChg chg="add mod">
          <ac:chgData name="Müller, Kurt (SI BP S TSS TR)" userId="e7e82c7e-80c6-42a5-ab71-24588885b7fe" providerId="ADAL" clId="{55DB8D51-C910-4CC8-A339-4A3DB7AEA507}" dt="2021-07-23T12:12:10.562" v="106"/>
          <ac:spMkLst>
            <pc:docMk/>
            <pc:sldMk cId="2805445751" sldId="2589"/>
            <ac:spMk id="80" creationId="{462DEB15-5CC0-42E2-8D35-8E1398DDF79A}"/>
          </ac:spMkLst>
        </pc:spChg>
        <pc:spChg chg="add mod">
          <ac:chgData name="Müller, Kurt (SI BP S TSS TR)" userId="e7e82c7e-80c6-42a5-ab71-24588885b7fe" providerId="ADAL" clId="{55DB8D51-C910-4CC8-A339-4A3DB7AEA507}" dt="2021-07-23T12:12:10.562" v="106"/>
          <ac:spMkLst>
            <pc:docMk/>
            <pc:sldMk cId="2805445751" sldId="2589"/>
            <ac:spMk id="81" creationId="{922CFC14-4A10-4696-97A2-08F07C9D3755}"/>
          </ac:spMkLst>
        </pc:spChg>
        <pc:spChg chg="add mod">
          <ac:chgData name="Müller, Kurt (SI BP S TSS TR)" userId="e7e82c7e-80c6-42a5-ab71-24588885b7fe" providerId="ADAL" clId="{55DB8D51-C910-4CC8-A339-4A3DB7AEA507}" dt="2021-07-23T12:12:10.562" v="106"/>
          <ac:spMkLst>
            <pc:docMk/>
            <pc:sldMk cId="2805445751" sldId="2589"/>
            <ac:spMk id="82" creationId="{04572AA3-9B2B-4546-9177-1F099E362441}"/>
          </ac:spMkLst>
        </pc:spChg>
        <pc:spChg chg="add mod">
          <ac:chgData name="Müller, Kurt (SI BP S TSS TR)" userId="e7e82c7e-80c6-42a5-ab71-24588885b7fe" providerId="ADAL" clId="{55DB8D51-C910-4CC8-A339-4A3DB7AEA507}" dt="2021-07-23T12:12:10.562" v="106"/>
          <ac:spMkLst>
            <pc:docMk/>
            <pc:sldMk cId="2805445751" sldId="2589"/>
            <ac:spMk id="83" creationId="{7D282C6E-19DC-4EB5-AC3B-08DF8F4E9C2C}"/>
          </ac:spMkLst>
        </pc:spChg>
        <pc:spChg chg="add mod">
          <ac:chgData name="Müller, Kurt (SI BP S TSS TR)" userId="e7e82c7e-80c6-42a5-ab71-24588885b7fe" providerId="ADAL" clId="{55DB8D51-C910-4CC8-A339-4A3DB7AEA507}" dt="2021-07-23T12:12:10.562" v="106"/>
          <ac:spMkLst>
            <pc:docMk/>
            <pc:sldMk cId="2805445751" sldId="2589"/>
            <ac:spMk id="84" creationId="{57DB0913-9945-473D-99BC-A5CA504A5B64}"/>
          </ac:spMkLst>
        </pc:spChg>
        <pc:spChg chg="add mod">
          <ac:chgData name="Müller, Kurt (SI BP S TSS TR)" userId="e7e82c7e-80c6-42a5-ab71-24588885b7fe" providerId="ADAL" clId="{55DB8D51-C910-4CC8-A339-4A3DB7AEA507}" dt="2021-07-23T12:12:10.562" v="106"/>
          <ac:spMkLst>
            <pc:docMk/>
            <pc:sldMk cId="2805445751" sldId="2589"/>
            <ac:spMk id="85" creationId="{534B9989-E77C-459A-8DE6-470420323E96}"/>
          </ac:spMkLst>
        </pc:spChg>
        <pc:spChg chg="add mod">
          <ac:chgData name="Müller, Kurt (SI BP S TSS TR)" userId="e7e82c7e-80c6-42a5-ab71-24588885b7fe" providerId="ADAL" clId="{55DB8D51-C910-4CC8-A339-4A3DB7AEA507}" dt="2021-07-23T12:12:10.562" v="106"/>
          <ac:spMkLst>
            <pc:docMk/>
            <pc:sldMk cId="2805445751" sldId="2589"/>
            <ac:spMk id="86" creationId="{35193360-7256-45D1-BE62-384DC1C6F468}"/>
          </ac:spMkLst>
        </pc:spChg>
        <pc:spChg chg="add mod">
          <ac:chgData name="Müller, Kurt (SI BP S TSS TR)" userId="e7e82c7e-80c6-42a5-ab71-24588885b7fe" providerId="ADAL" clId="{55DB8D51-C910-4CC8-A339-4A3DB7AEA507}" dt="2021-07-23T12:12:10.562" v="106"/>
          <ac:spMkLst>
            <pc:docMk/>
            <pc:sldMk cId="2805445751" sldId="2589"/>
            <ac:spMk id="87" creationId="{BAE0A29C-35C0-413D-A9D3-261F6F02EFF6}"/>
          </ac:spMkLst>
        </pc:spChg>
        <pc:spChg chg="add mod">
          <ac:chgData name="Müller, Kurt (SI BP S TSS TR)" userId="e7e82c7e-80c6-42a5-ab71-24588885b7fe" providerId="ADAL" clId="{55DB8D51-C910-4CC8-A339-4A3DB7AEA507}" dt="2021-07-23T12:12:10.562" v="106"/>
          <ac:spMkLst>
            <pc:docMk/>
            <pc:sldMk cId="2805445751" sldId="2589"/>
            <ac:spMk id="88" creationId="{2307D19E-CDF3-40B5-8AF0-29C3CF9F7FE2}"/>
          </ac:spMkLst>
        </pc:spChg>
        <pc:spChg chg="add mod">
          <ac:chgData name="Müller, Kurt (SI BP S TSS TR)" userId="e7e82c7e-80c6-42a5-ab71-24588885b7fe" providerId="ADAL" clId="{55DB8D51-C910-4CC8-A339-4A3DB7AEA507}" dt="2021-07-23T12:12:10.562" v="106"/>
          <ac:spMkLst>
            <pc:docMk/>
            <pc:sldMk cId="2805445751" sldId="2589"/>
            <ac:spMk id="89" creationId="{296946BE-09D0-4A2A-858F-42E57B012615}"/>
          </ac:spMkLst>
        </pc:spChg>
        <pc:spChg chg="add mod">
          <ac:chgData name="Müller, Kurt (SI BP S TSS TR)" userId="e7e82c7e-80c6-42a5-ab71-24588885b7fe" providerId="ADAL" clId="{55DB8D51-C910-4CC8-A339-4A3DB7AEA507}" dt="2021-07-23T12:12:10.562" v="106"/>
          <ac:spMkLst>
            <pc:docMk/>
            <pc:sldMk cId="2805445751" sldId="2589"/>
            <ac:spMk id="90" creationId="{1D619950-6A0E-4ABC-9381-E8519D87680F}"/>
          </ac:spMkLst>
        </pc:spChg>
        <pc:spChg chg="mod">
          <ac:chgData name="Müller, Kurt (SI BP S TSS TR)" userId="e7e82c7e-80c6-42a5-ab71-24588885b7fe" providerId="ADAL" clId="{55DB8D51-C910-4CC8-A339-4A3DB7AEA507}" dt="2021-07-23T12:12:10.562" v="106"/>
          <ac:spMkLst>
            <pc:docMk/>
            <pc:sldMk cId="2805445751" sldId="2589"/>
            <ac:spMk id="96" creationId="{10E2D869-0473-4276-ADD8-C279FFC5A3A8}"/>
          </ac:spMkLst>
        </pc:spChg>
        <pc:spChg chg="mod">
          <ac:chgData name="Müller, Kurt (SI BP S TSS TR)" userId="e7e82c7e-80c6-42a5-ab71-24588885b7fe" providerId="ADAL" clId="{55DB8D51-C910-4CC8-A339-4A3DB7AEA507}" dt="2021-07-23T12:12:10.562" v="106"/>
          <ac:spMkLst>
            <pc:docMk/>
            <pc:sldMk cId="2805445751" sldId="2589"/>
            <ac:spMk id="97" creationId="{61045C64-A24E-4D99-9835-EDBD207B7CD3}"/>
          </ac:spMkLst>
        </pc:spChg>
        <pc:spChg chg="mod">
          <ac:chgData name="Müller, Kurt (SI BP S TSS TR)" userId="e7e82c7e-80c6-42a5-ab71-24588885b7fe" providerId="ADAL" clId="{55DB8D51-C910-4CC8-A339-4A3DB7AEA507}" dt="2021-07-23T12:12:10.562" v="106"/>
          <ac:spMkLst>
            <pc:docMk/>
            <pc:sldMk cId="2805445751" sldId="2589"/>
            <ac:spMk id="98" creationId="{F175854E-03F5-446D-98B3-1596611DA4D9}"/>
          </ac:spMkLst>
        </pc:spChg>
        <pc:spChg chg="mod">
          <ac:chgData name="Müller, Kurt (SI BP S TSS TR)" userId="e7e82c7e-80c6-42a5-ab71-24588885b7fe" providerId="ADAL" clId="{55DB8D51-C910-4CC8-A339-4A3DB7AEA507}" dt="2021-07-23T12:12:10.562" v="106"/>
          <ac:spMkLst>
            <pc:docMk/>
            <pc:sldMk cId="2805445751" sldId="2589"/>
            <ac:spMk id="99" creationId="{1CD60E67-9150-453B-A229-96731F67A6BC}"/>
          </ac:spMkLst>
        </pc:spChg>
        <pc:spChg chg="mod">
          <ac:chgData name="Müller, Kurt (SI BP S TSS TR)" userId="e7e82c7e-80c6-42a5-ab71-24588885b7fe" providerId="ADAL" clId="{55DB8D51-C910-4CC8-A339-4A3DB7AEA507}" dt="2021-07-23T12:12:10.562" v="106"/>
          <ac:spMkLst>
            <pc:docMk/>
            <pc:sldMk cId="2805445751" sldId="2589"/>
            <ac:spMk id="100" creationId="{725F5F3D-C21E-40E5-AAC0-78FBE0D34A4E}"/>
          </ac:spMkLst>
        </pc:spChg>
        <pc:spChg chg="mod">
          <ac:chgData name="Müller, Kurt (SI BP S TSS TR)" userId="e7e82c7e-80c6-42a5-ab71-24588885b7fe" providerId="ADAL" clId="{55DB8D51-C910-4CC8-A339-4A3DB7AEA507}" dt="2021-07-23T12:12:10.562" v="106"/>
          <ac:spMkLst>
            <pc:docMk/>
            <pc:sldMk cId="2805445751" sldId="2589"/>
            <ac:spMk id="108" creationId="{9C8BE560-9154-4D16-ACCD-97CA6F0D3650}"/>
          </ac:spMkLst>
        </pc:spChg>
        <pc:spChg chg="mod">
          <ac:chgData name="Müller, Kurt (SI BP S TSS TR)" userId="e7e82c7e-80c6-42a5-ab71-24588885b7fe" providerId="ADAL" clId="{55DB8D51-C910-4CC8-A339-4A3DB7AEA507}" dt="2021-07-23T12:12:10.562" v="106"/>
          <ac:spMkLst>
            <pc:docMk/>
            <pc:sldMk cId="2805445751" sldId="2589"/>
            <ac:spMk id="110" creationId="{DDF6B64E-441E-4BD7-AA07-9EE33EFC3F08}"/>
          </ac:spMkLst>
        </pc:spChg>
        <pc:spChg chg="mod">
          <ac:chgData name="Müller, Kurt (SI BP S TSS TR)" userId="e7e82c7e-80c6-42a5-ab71-24588885b7fe" providerId="ADAL" clId="{55DB8D51-C910-4CC8-A339-4A3DB7AEA507}" dt="2021-07-23T12:12:10.562" v="106"/>
          <ac:spMkLst>
            <pc:docMk/>
            <pc:sldMk cId="2805445751" sldId="2589"/>
            <ac:spMk id="113" creationId="{E2FE432D-E7EA-4FF5-B554-02A8BB267AAE}"/>
          </ac:spMkLst>
        </pc:spChg>
        <pc:spChg chg="mod">
          <ac:chgData name="Müller, Kurt (SI BP S TSS TR)" userId="e7e82c7e-80c6-42a5-ab71-24588885b7fe" providerId="ADAL" clId="{55DB8D51-C910-4CC8-A339-4A3DB7AEA507}" dt="2021-07-23T12:12:10.562" v="106"/>
          <ac:spMkLst>
            <pc:docMk/>
            <pc:sldMk cId="2805445751" sldId="2589"/>
            <ac:spMk id="114" creationId="{118BE108-CEE2-4250-8001-1DAA92F1EA74}"/>
          </ac:spMkLst>
        </pc:spChg>
        <pc:spChg chg="mod">
          <ac:chgData name="Müller, Kurt (SI BP S TSS TR)" userId="e7e82c7e-80c6-42a5-ab71-24588885b7fe" providerId="ADAL" clId="{55DB8D51-C910-4CC8-A339-4A3DB7AEA507}" dt="2021-07-23T12:12:10.562" v="106"/>
          <ac:spMkLst>
            <pc:docMk/>
            <pc:sldMk cId="2805445751" sldId="2589"/>
            <ac:spMk id="116" creationId="{5BB36A85-2108-4A61-8D3B-72733EFFAD80}"/>
          </ac:spMkLst>
        </pc:spChg>
        <pc:spChg chg="mod">
          <ac:chgData name="Müller, Kurt (SI BP S TSS TR)" userId="e7e82c7e-80c6-42a5-ab71-24588885b7fe" providerId="ADAL" clId="{55DB8D51-C910-4CC8-A339-4A3DB7AEA507}" dt="2021-07-23T12:12:10.562" v="106"/>
          <ac:spMkLst>
            <pc:docMk/>
            <pc:sldMk cId="2805445751" sldId="2589"/>
            <ac:spMk id="118" creationId="{92E38582-7EDB-4893-A7D6-AA1292387BFD}"/>
          </ac:spMkLst>
        </pc:spChg>
        <pc:spChg chg="mod">
          <ac:chgData name="Müller, Kurt (SI BP S TSS TR)" userId="e7e82c7e-80c6-42a5-ab71-24588885b7fe" providerId="ADAL" clId="{55DB8D51-C910-4CC8-A339-4A3DB7AEA507}" dt="2021-07-23T12:12:10.562" v="106"/>
          <ac:spMkLst>
            <pc:docMk/>
            <pc:sldMk cId="2805445751" sldId="2589"/>
            <ac:spMk id="119" creationId="{F2BFBA00-2385-4F65-A6CD-B0FB00BD81F1}"/>
          </ac:spMkLst>
        </pc:spChg>
        <pc:spChg chg="mod">
          <ac:chgData name="Müller, Kurt (SI BP S TSS TR)" userId="e7e82c7e-80c6-42a5-ab71-24588885b7fe" providerId="ADAL" clId="{55DB8D51-C910-4CC8-A339-4A3DB7AEA507}" dt="2021-07-23T12:12:10.562" v="106"/>
          <ac:spMkLst>
            <pc:docMk/>
            <pc:sldMk cId="2805445751" sldId="2589"/>
            <ac:spMk id="121" creationId="{EB089F99-5AFA-4852-8EDC-77B0B6B4FBC6}"/>
          </ac:spMkLst>
        </pc:spChg>
        <pc:spChg chg="mod">
          <ac:chgData name="Müller, Kurt (SI BP S TSS TR)" userId="e7e82c7e-80c6-42a5-ab71-24588885b7fe" providerId="ADAL" clId="{55DB8D51-C910-4CC8-A339-4A3DB7AEA507}" dt="2021-07-23T12:12:10.562" v="106"/>
          <ac:spMkLst>
            <pc:docMk/>
            <pc:sldMk cId="2805445751" sldId="2589"/>
            <ac:spMk id="124" creationId="{F5CD1332-15B9-4393-B56C-FB4E4B3C4665}"/>
          </ac:spMkLst>
        </pc:spChg>
        <pc:spChg chg="mod">
          <ac:chgData name="Müller, Kurt (SI BP S TSS TR)" userId="e7e82c7e-80c6-42a5-ab71-24588885b7fe" providerId="ADAL" clId="{55DB8D51-C910-4CC8-A339-4A3DB7AEA507}" dt="2021-07-23T12:12:10.562" v="106"/>
          <ac:spMkLst>
            <pc:docMk/>
            <pc:sldMk cId="2805445751" sldId="2589"/>
            <ac:spMk id="125" creationId="{3CDBB8A3-2152-45C5-84CE-2F97E58D0D2A}"/>
          </ac:spMkLst>
        </pc:spChg>
        <pc:spChg chg="mod">
          <ac:chgData name="Müller, Kurt (SI BP S TSS TR)" userId="e7e82c7e-80c6-42a5-ab71-24588885b7fe" providerId="ADAL" clId="{55DB8D51-C910-4CC8-A339-4A3DB7AEA507}" dt="2021-07-23T12:12:10.562" v="106"/>
          <ac:spMkLst>
            <pc:docMk/>
            <pc:sldMk cId="2805445751" sldId="2589"/>
            <ac:spMk id="126" creationId="{F20F78CD-CC4D-4DB1-8DB5-5D1D2C4AADF1}"/>
          </ac:spMkLst>
        </pc:spChg>
        <pc:spChg chg="mod">
          <ac:chgData name="Müller, Kurt (SI BP S TSS TR)" userId="e7e82c7e-80c6-42a5-ab71-24588885b7fe" providerId="ADAL" clId="{55DB8D51-C910-4CC8-A339-4A3DB7AEA507}" dt="2021-07-23T12:12:10.562" v="106"/>
          <ac:spMkLst>
            <pc:docMk/>
            <pc:sldMk cId="2805445751" sldId="2589"/>
            <ac:spMk id="128" creationId="{B66B3CA0-387B-415C-9DB3-F2D404410EC4}"/>
          </ac:spMkLst>
        </pc:spChg>
        <pc:spChg chg="mod">
          <ac:chgData name="Müller, Kurt (SI BP S TSS TR)" userId="e7e82c7e-80c6-42a5-ab71-24588885b7fe" providerId="ADAL" clId="{55DB8D51-C910-4CC8-A339-4A3DB7AEA507}" dt="2021-07-23T12:12:10.562" v="106"/>
          <ac:spMkLst>
            <pc:docMk/>
            <pc:sldMk cId="2805445751" sldId="2589"/>
            <ac:spMk id="143" creationId="{B9497B23-07E9-43CA-ADAB-CCBD64F569E2}"/>
          </ac:spMkLst>
        </pc:spChg>
        <pc:spChg chg="mod">
          <ac:chgData name="Müller, Kurt (SI BP S TSS TR)" userId="e7e82c7e-80c6-42a5-ab71-24588885b7fe" providerId="ADAL" clId="{55DB8D51-C910-4CC8-A339-4A3DB7AEA507}" dt="2021-07-23T12:12:10.562" v="106"/>
          <ac:spMkLst>
            <pc:docMk/>
            <pc:sldMk cId="2805445751" sldId="2589"/>
            <ac:spMk id="144" creationId="{C17CA2A7-330B-4DF0-A7FE-4356C0431655}"/>
          </ac:spMkLst>
        </pc:spChg>
        <pc:spChg chg="mod">
          <ac:chgData name="Müller, Kurt (SI BP S TSS TR)" userId="e7e82c7e-80c6-42a5-ab71-24588885b7fe" providerId="ADAL" clId="{55DB8D51-C910-4CC8-A339-4A3DB7AEA507}" dt="2021-07-23T12:12:10.562" v="106"/>
          <ac:spMkLst>
            <pc:docMk/>
            <pc:sldMk cId="2805445751" sldId="2589"/>
            <ac:spMk id="145" creationId="{E8FD9D27-9522-40C4-A6C5-A1D2A88F8F6D}"/>
          </ac:spMkLst>
        </pc:spChg>
        <pc:spChg chg="mod">
          <ac:chgData name="Müller, Kurt (SI BP S TSS TR)" userId="e7e82c7e-80c6-42a5-ab71-24588885b7fe" providerId="ADAL" clId="{55DB8D51-C910-4CC8-A339-4A3DB7AEA507}" dt="2021-07-23T12:12:10.562" v="106"/>
          <ac:spMkLst>
            <pc:docMk/>
            <pc:sldMk cId="2805445751" sldId="2589"/>
            <ac:spMk id="146" creationId="{271BAA31-3840-4DEB-B58F-FC9A7D9CE2F1}"/>
          </ac:spMkLst>
        </pc:spChg>
        <pc:spChg chg="mod">
          <ac:chgData name="Müller, Kurt (SI BP S TSS TR)" userId="e7e82c7e-80c6-42a5-ab71-24588885b7fe" providerId="ADAL" clId="{55DB8D51-C910-4CC8-A339-4A3DB7AEA507}" dt="2021-07-23T12:12:10.562" v="106"/>
          <ac:spMkLst>
            <pc:docMk/>
            <pc:sldMk cId="2805445751" sldId="2589"/>
            <ac:spMk id="147" creationId="{21607333-F8B7-490E-8989-D8B4AF7601AA}"/>
          </ac:spMkLst>
        </pc:spChg>
        <pc:spChg chg="mod">
          <ac:chgData name="Müller, Kurt (SI BP S TSS TR)" userId="e7e82c7e-80c6-42a5-ab71-24588885b7fe" providerId="ADAL" clId="{55DB8D51-C910-4CC8-A339-4A3DB7AEA507}" dt="2021-07-23T12:12:10.562" v="106"/>
          <ac:spMkLst>
            <pc:docMk/>
            <pc:sldMk cId="2805445751" sldId="2589"/>
            <ac:spMk id="148" creationId="{AEBF4F83-EFCC-4C92-B2AB-422353E7C238}"/>
          </ac:spMkLst>
        </pc:spChg>
        <pc:spChg chg="mod">
          <ac:chgData name="Müller, Kurt (SI BP S TSS TR)" userId="e7e82c7e-80c6-42a5-ab71-24588885b7fe" providerId="ADAL" clId="{55DB8D51-C910-4CC8-A339-4A3DB7AEA507}" dt="2021-07-23T12:12:10.562" v="106"/>
          <ac:spMkLst>
            <pc:docMk/>
            <pc:sldMk cId="2805445751" sldId="2589"/>
            <ac:spMk id="149" creationId="{E7072F6F-BEC0-4A63-A0F0-7AF5B85A01A5}"/>
          </ac:spMkLst>
        </pc:spChg>
        <pc:spChg chg="mod">
          <ac:chgData name="Müller, Kurt (SI BP S TSS TR)" userId="e7e82c7e-80c6-42a5-ab71-24588885b7fe" providerId="ADAL" clId="{55DB8D51-C910-4CC8-A339-4A3DB7AEA507}" dt="2021-07-23T12:12:10.562" v="106"/>
          <ac:spMkLst>
            <pc:docMk/>
            <pc:sldMk cId="2805445751" sldId="2589"/>
            <ac:spMk id="150" creationId="{0842B172-DCED-4B94-9D37-12A55689B223}"/>
          </ac:spMkLst>
        </pc:spChg>
        <pc:spChg chg="mod">
          <ac:chgData name="Müller, Kurt (SI BP S TSS TR)" userId="e7e82c7e-80c6-42a5-ab71-24588885b7fe" providerId="ADAL" clId="{55DB8D51-C910-4CC8-A339-4A3DB7AEA507}" dt="2021-07-23T12:12:10.562" v="106"/>
          <ac:spMkLst>
            <pc:docMk/>
            <pc:sldMk cId="2805445751" sldId="2589"/>
            <ac:spMk id="151" creationId="{9C6651E2-34DA-4A29-B60D-F8E34EA13A4F}"/>
          </ac:spMkLst>
        </pc:spChg>
        <pc:spChg chg="mod">
          <ac:chgData name="Müller, Kurt (SI BP S TSS TR)" userId="e7e82c7e-80c6-42a5-ab71-24588885b7fe" providerId="ADAL" clId="{55DB8D51-C910-4CC8-A339-4A3DB7AEA507}" dt="2021-07-23T12:12:10.562" v="106"/>
          <ac:spMkLst>
            <pc:docMk/>
            <pc:sldMk cId="2805445751" sldId="2589"/>
            <ac:spMk id="152" creationId="{C419FD38-A8B6-483F-A3B9-8F973F1FFD67}"/>
          </ac:spMkLst>
        </pc:spChg>
        <pc:spChg chg="mod">
          <ac:chgData name="Müller, Kurt (SI BP S TSS TR)" userId="e7e82c7e-80c6-42a5-ab71-24588885b7fe" providerId="ADAL" clId="{55DB8D51-C910-4CC8-A339-4A3DB7AEA507}" dt="2021-07-23T12:12:10.562" v="106"/>
          <ac:spMkLst>
            <pc:docMk/>
            <pc:sldMk cId="2805445751" sldId="2589"/>
            <ac:spMk id="153" creationId="{5CA31FF2-F461-435D-93A9-D316228CAB93}"/>
          </ac:spMkLst>
        </pc:spChg>
        <pc:spChg chg="mod">
          <ac:chgData name="Müller, Kurt (SI BP S TSS TR)" userId="e7e82c7e-80c6-42a5-ab71-24588885b7fe" providerId="ADAL" clId="{55DB8D51-C910-4CC8-A339-4A3DB7AEA507}" dt="2021-07-23T12:12:10.562" v="106"/>
          <ac:spMkLst>
            <pc:docMk/>
            <pc:sldMk cId="2805445751" sldId="2589"/>
            <ac:spMk id="154" creationId="{407DDA15-8DD8-45A8-94D7-75554E24B006}"/>
          </ac:spMkLst>
        </pc:spChg>
        <pc:spChg chg="mod">
          <ac:chgData name="Müller, Kurt (SI BP S TSS TR)" userId="e7e82c7e-80c6-42a5-ab71-24588885b7fe" providerId="ADAL" clId="{55DB8D51-C910-4CC8-A339-4A3DB7AEA507}" dt="2021-07-23T12:12:10.562" v="106"/>
          <ac:spMkLst>
            <pc:docMk/>
            <pc:sldMk cId="2805445751" sldId="2589"/>
            <ac:spMk id="155" creationId="{546818F1-EDDA-401C-A2FE-07B6E48F59B7}"/>
          </ac:spMkLst>
        </pc:spChg>
        <pc:spChg chg="mod">
          <ac:chgData name="Müller, Kurt (SI BP S TSS TR)" userId="e7e82c7e-80c6-42a5-ab71-24588885b7fe" providerId="ADAL" clId="{55DB8D51-C910-4CC8-A339-4A3DB7AEA507}" dt="2021-07-23T12:12:10.562" v="106"/>
          <ac:spMkLst>
            <pc:docMk/>
            <pc:sldMk cId="2805445751" sldId="2589"/>
            <ac:spMk id="162" creationId="{BDDFA4AE-C08D-4889-802B-2F7D7F297E0E}"/>
          </ac:spMkLst>
        </pc:spChg>
        <pc:spChg chg="mod">
          <ac:chgData name="Müller, Kurt (SI BP S TSS TR)" userId="e7e82c7e-80c6-42a5-ab71-24588885b7fe" providerId="ADAL" clId="{55DB8D51-C910-4CC8-A339-4A3DB7AEA507}" dt="2021-07-23T12:12:10.562" v="106"/>
          <ac:spMkLst>
            <pc:docMk/>
            <pc:sldMk cId="2805445751" sldId="2589"/>
            <ac:spMk id="163" creationId="{3F6EEB7A-1F1C-40C1-AA4D-A2AFC93CEDE4}"/>
          </ac:spMkLst>
        </pc:spChg>
        <pc:spChg chg="mod">
          <ac:chgData name="Müller, Kurt (SI BP S TSS TR)" userId="e7e82c7e-80c6-42a5-ab71-24588885b7fe" providerId="ADAL" clId="{55DB8D51-C910-4CC8-A339-4A3DB7AEA507}" dt="2021-07-23T12:12:10.562" v="106"/>
          <ac:spMkLst>
            <pc:docMk/>
            <pc:sldMk cId="2805445751" sldId="2589"/>
            <ac:spMk id="164" creationId="{115B24D8-525C-48FF-AB72-3A606A0C5FBD}"/>
          </ac:spMkLst>
        </pc:spChg>
        <pc:spChg chg="mod">
          <ac:chgData name="Müller, Kurt (SI BP S TSS TR)" userId="e7e82c7e-80c6-42a5-ab71-24588885b7fe" providerId="ADAL" clId="{55DB8D51-C910-4CC8-A339-4A3DB7AEA507}" dt="2021-07-23T12:12:10.562" v="106"/>
          <ac:spMkLst>
            <pc:docMk/>
            <pc:sldMk cId="2805445751" sldId="2589"/>
            <ac:spMk id="166" creationId="{D36D7E86-1CE8-408D-8EA2-97C16BB40EAC}"/>
          </ac:spMkLst>
        </pc:spChg>
        <pc:spChg chg="mod">
          <ac:chgData name="Müller, Kurt (SI BP S TSS TR)" userId="e7e82c7e-80c6-42a5-ab71-24588885b7fe" providerId="ADAL" clId="{55DB8D51-C910-4CC8-A339-4A3DB7AEA507}" dt="2021-07-23T12:12:10.562" v="106"/>
          <ac:spMkLst>
            <pc:docMk/>
            <pc:sldMk cId="2805445751" sldId="2589"/>
            <ac:spMk id="167" creationId="{342248DC-DD88-4BBA-A84F-71057CDC63E1}"/>
          </ac:spMkLst>
        </pc:spChg>
        <pc:spChg chg="mod">
          <ac:chgData name="Müller, Kurt (SI BP S TSS TR)" userId="e7e82c7e-80c6-42a5-ab71-24588885b7fe" providerId="ADAL" clId="{55DB8D51-C910-4CC8-A339-4A3DB7AEA507}" dt="2021-07-23T12:12:10.562" v="106"/>
          <ac:spMkLst>
            <pc:docMk/>
            <pc:sldMk cId="2805445751" sldId="2589"/>
            <ac:spMk id="177" creationId="{B21D8B44-D7E1-489A-831C-55415DD9FA45}"/>
          </ac:spMkLst>
        </pc:spChg>
        <pc:spChg chg="mod">
          <ac:chgData name="Müller, Kurt (SI BP S TSS TR)" userId="e7e82c7e-80c6-42a5-ab71-24588885b7fe" providerId="ADAL" clId="{55DB8D51-C910-4CC8-A339-4A3DB7AEA507}" dt="2021-07-23T12:12:10.562" v="106"/>
          <ac:spMkLst>
            <pc:docMk/>
            <pc:sldMk cId="2805445751" sldId="2589"/>
            <ac:spMk id="178" creationId="{7EB351B2-F808-48F8-96D9-3231406E9420}"/>
          </ac:spMkLst>
        </pc:spChg>
        <pc:grpChg chg="add mod">
          <ac:chgData name="Müller, Kurt (SI BP S TSS TR)" userId="e7e82c7e-80c6-42a5-ab71-24588885b7fe" providerId="ADAL" clId="{55DB8D51-C910-4CC8-A339-4A3DB7AEA507}" dt="2021-07-23T12:12:10.562" v="106"/>
          <ac:grpSpMkLst>
            <pc:docMk/>
            <pc:sldMk cId="2805445751" sldId="2589"/>
            <ac:grpSpMk id="91" creationId="{E5CF5321-0E8A-4E3C-A514-0AF824542E4E}"/>
          </ac:grpSpMkLst>
        </pc:grpChg>
        <pc:grpChg chg="mod">
          <ac:chgData name="Müller, Kurt (SI BP S TSS TR)" userId="e7e82c7e-80c6-42a5-ab71-24588885b7fe" providerId="ADAL" clId="{55DB8D51-C910-4CC8-A339-4A3DB7AEA507}" dt="2021-07-23T12:12:10.562" v="106"/>
          <ac:grpSpMkLst>
            <pc:docMk/>
            <pc:sldMk cId="2805445751" sldId="2589"/>
            <ac:grpSpMk id="92" creationId="{45B04FD0-85BC-4D8F-82B3-8BDA2842F234}"/>
          </ac:grpSpMkLst>
        </pc:grpChg>
        <pc:grpChg chg="add mod">
          <ac:chgData name="Müller, Kurt (SI BP S TSS TR)" userId="e7e82c7e-80c6-42a5-ab71-24588885b7fe" providerId="ADAL" clId="{55DB8D51-C910-4CC8-A339-4A3DB7AEA507}" dt="2021-07-23T12:12:10.562" v="106"/>
          <ac:grpSpMkLst>
            <pc:docMk/>
            <pc:sldMk cId="2805445751" sldId="2589"/>
            <ac:grpSpMk id="117" creationId="{69E7FC5A-2FFA-425D-B1FB-6FCACA8896E0}"/>
          </ac:grpSpMkLst>
        </pc:grpChg>
        <pc:graphicFrameChg chg="add mod">
          <ac:chgData name="Müller, Kurt (SI BP S TSS TR)" userId="e7e82c7e-80c6-42a5-ab71-24588885b7fe" providerId="ADAL" clId="{55DB8D51-C910-4CC8-A339-4A3DB7AEA507}" dt="2021-07-23T12:12:10.562" v="106"/>
          <ac:graphicFrameMkLst>
            <pc:docMk/>
            <pc:sldMk cId="2805445751" sldId="2589"/>
            <ac:graphicFrameMk id="187" creationId="{776C4155-0EEA-4898-A8C6-1E34A2BF13B0}"/>
          </ac:graphicFrameMkLst>
        </pc:graphicFrameChg>
        <pc:picChg chg="del">
          <ac:chgData name="Müller, Kurt (SI BP S TSS TR)" userId="e7e82c7e-80c6-42a5-ab71-24588885b7fe" providerId="ADAL" clId="{55DB8D51-C910-4CC8-A339-4A3DB7AEA507}" dt="2021-07-23T12:12:09.314" v="105" actId="478"/>
          <ac:picMkLst>
            <pc:docMk/>
            <pc:sldMk cId="2805445751" sldId="2589"/>
            <ac:picMk id="6" creationId="{79037D49-C682-4EFB-99B6-9777C546A47A}"/>
          </ac:picMkLst>
        </pc:picChg>
        <pc:cxnChg chg="mod">
          <ac:chgData name="Müller, Kurt (SI BP S TSS TR)" userId="e7e82c7e-80c6-42a5-ab71-24588885b7fe" providerId="ADAL" clId="{55DB8D51-C910-4CC8-A339-4A3DB7AEA507}" dt="2021-07-23T12:12:10.562" v="106"/>
          <ac:cxnSpMkLst>
            <pc:docMk/>
            <pc:sldMk cId="2805445751" sldId="2589"/>
            <ac:cxnSpMk id="180" creationId="{4056DB21-58B3-4A75-B7E9-35D468638145}"/>
          </ac:cxnSpMkLst>
        </pc:cxnChg>
        <pc:cxnChg chg="mod">
          <ac:chgData name="Müller, Kurt (SI BP S TSS TR)" userId="e7e82c7e-80c6-42a5-ab71-24588885b7fe" providerId="ADAL" clId="{55DB8D51-C910-4CC8-A339-4A3DB7AEA507}" dt="2021-07-23T12:12:10.562" v="106"/>
          <ac:cxnSpMkLst>
            <pc:docMk/>
            <pc:sldMk cId="2805445751" sldId="2589"/>
            <ac:cxnSpMk id="185" creationId="{505DD614-4633-4DCE-BA75-73D9BC2546D7}"/>
          </ac:cxnSpMkLst>
        </pc:cxnChg>
      </pc:sldChg>
      <pc:sldChg chg="delSp modSp add del mod">
        <pc:chgData name="Müller, Kurt (SI BP S TSS TR)" userId="e7e82c7e-80c6-42a5-ab71-24588885b7fe" providerId="ADAL" clId="{55DB8D51-C910-4CC8-A339-4A3DB7AEA507}" dt="2021-07-23T12:34:14.196" v="541" actId="47"/>
        <pc:sldMkLst>
          <pc:docMk/>
          <pc:sldMk cId="4224288954" sldId="2590"/>
        </pc:sldMkLst>
        <pc:spChg chg="del mod">
          <ac:chgData name="Müller, Kurt (SI BP S TSS TR)" userId="e7e82c7e-80c6-42a5-ab71-24588885b7fe" providerId="ADAL" clId="{55DB8D51-C910-4CC8-A339-4A3DB7AEA507}" dt="2021-07-23T12:33:27.474" v="535" actId="21"/>
          <ac:spMkLst>
            <pc:docMk/>
            <pc:sldMk cId="4224288954" sldId="2590"/>
            <ac:spMk id="7" creationId="{ACAB2C52-5885-4E21-B99C-8FB0774DE9B6}"/>
          </ac:spMkLst>
        </pc:spChg>
        <pc:spChg chg="mod">
          <ac:chgData name="Müller, Kurt (SI BP S TSS TR)" userId="e7e82c7e-80c6-42a5-ab71-24588885b7fe" providerId="ADAL" clId="{55DB8D51-C910-4CC8-A339-4A3DB7AEA507}" dt="2021-07-23T12:30:51.142" v="488" actId="20577"/>
          <ac:spMkLst>
            <pc:docMk/>
            <pc:sldMk cId="4224288954" sldId="2590"/>
            <ac:spMk id="96" creationId="{F58902F7-74F5-40D2-95E0-489AE3763F2D}"/>
          </ac:spMkLst>
        </pc:spChg>
      </pc:sldChg>
    </pc:docChg>
  </pc:docChgLst>
  <pc:docChgLst>
    <pc:chgData name="Müller, Kurt (SI BP S TSS TR)" userId="e7e82c7e-80c6-42a5-ab71-24588885b7fe" providerId="ADAL" clId="{77F4ACE1-7C3F-41B5-B554-517ABA249111}"/>
    <pc:docChg chg="undo custSel addSld modSld sldOrd modMainMaster">
      <pc:chgData name="Müller, Kurt (SI BP S TSS TR)" userId="e7e82c7e-80c6-42a5-ab71-24588885b7fe" providerId="ADAL" clId="{77F4ACE1-7C3F-41B5-B554-517ABA249111}" dt="2021-05-20T13:33:54.832" v="160" actId="1076"/>
      <pc:docMkLst>
        <pc:docMk/>
      </pc:docMkLst>
      <pc:sldChg chg="ord">
        <pc:chgData name="Müller, Kurt (SI BP S TSS TR)" userId="e7e82c7e-80c6-42a5-ab71-24588885b7fe" providerId="ADAL" clId="{77F4ACE1-7C3F-41B5-B554-517ABA249111}" dt="2021-05-20T13:29:57.657" v="155"/>
        <pc:sldMkLst>
          <pc:docMk/>
          <pc:sldMk cId="169197447" sldId="959"/>
        </pc:sldMkLst>
      </pc:sldChg>
      <pc:sldChg chg="addSp modSp mod">
        <pc:chgData name="Müller, Kurt (SI BP S TSS TR)" userId="e7e82c7e-80c6-42a5-ab71-24588885b7fe" providerId="ADAL" clId="{77F4ACE1-7C3F-41B5-B554-517ABA249111}" dt="2021-05-19T07:49:06.355" v="51" actId="1076"/>
        <pc:sldMkLst>
          <pc:docMk/>
          <pc:sldMk cId="62519991" sldId="2397"/>
        </pc:sldMkLst>
        <pc:picChg chg="add mod">
          <ac:chgData name="Müller, Kurt (SI BP S TSS TR)" userId="e7e82c7e-80c6-42a5-ab71-24588885b7fe" providerId="ADAL" clId="{77F4ACE1-7C3F-41B5-B554-517ABA249111}" dt="2021-05-19T07:49:03.971" v="50" actId="1076"/>
          <ac:picMkLst>
            <pc:docMk/>
            <pc:sldMk cId="62519991" sldId="2397"/>
            <ac:picMk id="4" creationId="{672B1F64-C71F-4F16-ABE5-9E840E6BAE3D}"/>
          </ac:picMkLst>
        </pc:picChg>
        <pc:picChg chg="mod">
          <ac:chgData name="Müller, Kurt (SI BP S TSS TR)" userId="e7e82c7e-80c6-42a5-ab71-24588885b7fe" providerId="ADAL" clId="{77F4ACE1-7C3F-41B5-B554-517ABA249111}" dt="2021-05-19T07:49:01.875" v="49" actId="1076"/>
          <ac:picMkLst>
            <pc:docMk/>
            <pc:sldMk cId="62519991" sldId="2397"/>
            <ac:picMk id="5" creationId="{01872989-6154-4DC6-9578-D2EEA8C31707}"/>
          </ac:picMkLst>
        </pc:picChg>
        <pc:picChg chg="mod">
          <ac:chgData name="Müller, Kurt (SI BP S TSS TR)" userId="e7e82c7e-80c6-42a5-ab71-24588885b7fe" providerId="ADAL" clId="{77F4ACE1-7C3F-41B5-B554-517ABA249111}" dt="2021-05-19T07:49:06.355" v="51" actId="1076"/>
          <ac:picMkLst>
            <pc:docMk/>
            <pc:sldMk cId="62519991" sldId="2397"/>
            <ac:picMk id="7" creationId="{3C3084D4-0420-49E3-9287-AD7FC987A4D2}"/>
          </ac:picMkLst>
        </pc:picChg>
      </pc:sldChg>
      <pc:sldChg chg="modSp mod">
        <pc:chgData name="Müller, Kurt (SI BP S TSS TR)" userId="e7e82c7e-80c6-42a5-ab71-24588885b7fe" providerId="ADAL" clId="{77F4ACE1-7C3F-41B5-B554-517ABA249111}" dt="2021-05-20T13:25:44.386" v="84" actId="20577"/>
        <pc:sldMkLst>
          <pc:docMk/>
          <pc:sldMk cId="2638777451" sldId="2409"/>
        </pc:sldMkLst>
        <pc:spChg chg="mod">
          <ac:chgData name="Müller, Kurt (SI BP S TSS TR)" userId="e7e82c7e-80c6-42a5-ab71-24588885b7fe" providerId="ADAL" clId="{77F4ACE1-7C3F-41B5-B554-517ABA249111}" dt="2021-05-20T13:25:44.386" v="84" actId="20577"/>
          <ac:spMkLst>
            <pc:docMk/>
            <pc:sldMk cId="2638777451" sldId="2409"/>
            <ac:spMk id="4" creationId="{00000000-0000-0000-0000-000000000000}"/>
          </ac:spMkLst>
        </pc:spChg>
      </pc:sldChg>
      <pc:sldChg chg="addSp modSp mod">
        <pc:chgData name="Müller, Kurt (SI BP S TSS TR)" userId="e7e82c7e-80c6-42a5-ab71-24588885b7fe" providerId="ADAL" clId="{77F4ACE1-7C3F-41B5-B554-517ABA249111}" dt="2021-05-18T10:38:20.833" v="41" actId="1076"/>
        <pc:sldMkLst>
          <pc:docMk/>
          <pc:sldMk cId="1217175717" sldId="2415"/>
        </pc:sldMkLst>
        <pc:spChg chg="mod">
          <ac:chgData name="Müller, Kurt (SI BP S TSS TR)" userId="e7e82c7e-80c6-42a5-ab71-24588885b7fe" providerId="ADAL" clId="{77F4ACE1-7C3F-41B5-B554-517ABA249111}" dt="2021-05-17T16:39:29.192" v="18" actId="1076"/>
          <ac:spMkLst>
            <pc:docMk/>
            <pc:sldMk cId="1217175717" sldId="2415"/>
            <ac:spMk id="23" creationId="{9F087C5A-D8B3-4C07-8146-E2A1E497AE02}"/>
          </ac:spMkLst>
        </pc:spChg>
        <pc:spChg chg="mod">
          <ac:chgData name="Müller, Kurt (SI BP S TSS TR)" userId="e7e82c7e-80c6-42a5-ab71-24588885b7fe" providerId="ADAL" clId="{77F4ACE1-7C3F-41B5-B554-517ABA249111}" dt="2021-05-17T16:39:29.192" v="18" actId="1076"/>
          <ac:spMkLst>
            <pc:docMk/>
            <pc:sldMk cId="1217175717" sldId="2415"/>
            <ac:spMk id="25" creationId="{ED890EFA-4221-42E3-9001-78BF316122C4}"/>
          </ac:spMkLst>
        </pc:spChg>
        <pc:spChg chg="mod">
          <ac:chgData name="Müller, Kurt (SI BP S TSS TR)" userId="e7e82c7e-80c6-42a5-ab71-24588885b7fe" providerId="ADAL" clId="{77F4ACE1-7C3F-41B5-B554-517ABA249111}" dt="2021-05-17T16:39:29.192" v="18" actId="1076"/>
          <ac:spMkLst>
            <pc:docMk/>
            <pc:sldMk cId="1217175717" sldId="2415"/>
            <ac:spMk id="31" creationId="{2C4A0621-0B7F-4712-A7E4-D9DE36F08389}"/>
          </ac:spMkLst>
        </pc:spChg>
        <pc:spChg chg="mod">
          <ac:chgData name="Müller, Kurt (SI BP S TSS TR)" userId="e7e82c7e-80c6-42a5-ab71-24588885b7fe" providerId="ADAL" clId="{77F4ACE1-7C3F-41B5-B554-517ABA249111}" dt="2021-05-17T16:39:29.192" v="18" actId="1076"/>
          <ac:spMkLst>
            <pc:docMk/>
            <pc:sldMk cId="1217175717" sldId="2415"/>
            <ac:spMk id="32" creationId="{EF81387F-9354-409C-B29E-96ADC3167C8F}"/>
          </ac:spMkLst>
        </pc:spChg>
        <pc:spChg chg="mod">
          <ac:chgData name="Müller, Kurt (SI BP S TSS TR)" userId="e7e82c7e-80c6-42a5-ab71-24588885b7fe" providerId="ADAL" clId="{77F4ACE1-7C3F-41B5-B554-517ABA249111}" dt="2021-05-17T16:39:29.192" v="18" actId="1076"/>
          <ac:spMkLst>
            <pc:docMk/>
            <pc:sldMk cId="1217175717" sldId="2415"/>
            <ac:spMk id="33" creationId="{050278F8-DED2-4B99-8F92-C8FDF3D38D46}"/>
          </ac:spMkLst>
        </pc:spChg>
        <pc:spChg chg="mod">
          <ac:chgData name="Müller, Kurt (SI BP S TSS TR)" userId="e7e82c7e-80c6-42a5-ab71-24588885b7fe" providerId="ADAL" clId="{77F4ACE1-7C3F-41B5-B554-517ABA249111}" dt="2021-05-17T16:39:29.192" v="18" actId="1076"/>
          <ac:spMkLst>
            <pc:docMk/>
            <pc:sldMk cId="1217175717" sldId="2415"/>
            <ac:spMk id="34" creationId="{ACFD12B7-49B6-4916-B9FF-99EC27D58044}"/>
          </ac:spMkLst>
        </pc:spChg>
        <pc:spChg chg="mod">
          <ac:chgData name="Müller, Kurt (SI BP S TSS TR)" userId="e7e82c7e-80c6-42a5-ab71-24588885b7fe" providerId="ADAL" clId="{77F4ACE1-7C3F-41B5-B554-517ABA249111}" dt="2021-05-17T16:39:29.192" v="18" actId="1076"/>
          <ac:spMkLst>
            <pc:docMk/>
            <pc:sldMk cId="1217175717" sldId="2415"/>
            <ac:spMk id="35" creationId="{3F1FD698-9B61-494E-A3BE-326853C7E6A0}"/>
          </ac:spMkLst>
        </pc:spChg>
        <pc:spChg chg="mod">
          <ac:chgData name="Müller, Kurt (SI BP S TSS TR)" userId="e7e82c7e-80c6-42a5-ab71-24588885b7fe" providerId="ADAL" clId="{77F4ACE1-7C3F-41B5-B554-517ABA249111}" dt="2021-05-17T16:39:29.192" v="18" actId="1076"/>
          <ac:spMkLst>
            <pc:docMk/>
            <pc:sldMk cId="1217175717" sldId="2415"/>
            <ac:spMk id="36" creationId="{AC938EC3-4BB5-4FC3-929D-47653E78DF5D}"/>
          </ac:spMkLst>
        </pc:spChg>
        <pc:spChg chg="mod">
          <ac:chgData name="Müller, Kurt (SI BP S TSS TR)" userId="e7e82c7e-80c6-42a5-ab71-24588885b7fe" providerId="ADAL" clId="{77F4ACE1-7C3F-41B5-B554-517ABA249111}" dt="2021-05-17T16:39:29.192" v="18" actId="1076"/>
          <ac:spMkLst>
            <pc:docMk/>
            <pc:sldMk cId="1217175717" sldId="2415"/>
            <ac:spMk id="37" creationId="{F2CD2873-84A5-40DE-82DD-9F1CEB247CFB}"/>
          </ac:spMkLst>
        </pc:spChg>
        <pc:spChg chg="mod">
          <ac:chgData name="Müller, Kurt (SI BP S TSS TR)" userId="e7e82c7e-80c6-42a5-ab71-24588885b7fe" providerId="ADAL" clId="{77F4ACE1-7C3F-41B5-B554-517ABA249111}" dt="2021-05-17T16:39:29.192" v="18" actId="1076"/>
          <ac:spMkLst>
            <pc:docMk/>
            <pc:sldMk cId="1217175717" sldId="2415"/>
            <ac:spMk id="38" creationId="{337D7776-8193-4B3F-8F68-BB12D419FF66}"/>
          </ac:spMkLst>
        </pc:spChg>
        <pc:spChg chg="mod">
          <ac:chgData name="Müller, Kurt (SI BP S TSS TR)" userId="e7e82c7e-80c6-42a5-ab71-24588885b7fe" providerId="ADAL" clId="{77F4ACE1-7C3F-41B5-B554-517ABA249111}" dt="2021-05-17T16:39:29.192" v="18" actId="1076"/>
          <ac:spMkLst>
            <pc:docMk/>
            <pc:sldMk cId="1217175717" sldId="2415"/>
            <ac:spMk id="39" creationId="{20AF89A9-275F-41EB-850E-A7FEE2168A31}"/>
          </ac:spMkLst>
        </pc:spChg>
        <pc:spChg chg="mod">
          <ac:chgData name="Müller, Kurt (SI BP S TSS TR)" userId="e7e82c7e-80c6-42a5-ab71-24588885b7fe" providerId="ADAL" clId="{77F4ACE1-7C3F-41B5-B554-517ABA249111}" dt="2021-05-17T16:39:29.192" v="18" actId="1076"/>
          <ac:spMkLst>
            <pc:docMk/>
            <pc:sldMk cId="1217175717" sldId="2415"/>
            <ac:spMk id="40" creationId="{F09807B8-3FDF-4737-8394-FAE1C993F709}"/>
          </ac:spMkLst>
        </pc:spChg>
        <pc:spChg chg="mod">
          <ac:chgData name="Müller, Kurt (SI BP S TSS TR)" userId="e7e82c7e-80c6-42a5-ab71-24588885b7fe" providerId="ADAL" clId="{77F4ACE1-7C3F-41B5-B554-517ABA249111}" dt="2021-05-17T16:39:29.192" v="18" actId="1076"/>
          <ac:spMkLst>
            <pc:docMk/>
            <pc:sldMk cId="1217175717" sldId="2415"/>
            <ac:spMk id="41" creationId="{DF40E61D-962C-43F5-A218-6242CCCD2993}"/>
          </ac:spMkLst>
        </pc:spChg>
        <pc:spChg chg="mod">
          <ac:chgData name="Müller, Kurt (SI BP S TSS TR)" userId="e7e82c7e-80c6-42a5-ab71-24588885b7fe" providerId="ADAL" clId="{77F4ACE1-7C3F-41B5-B554-517ABA249111}" dt="2021-05-17T16:39:29.192" v="18" actId="1076"/>
          <ac:spMkLst>
            <pc:docMk/>
            <pc:sldMk cId="1217175717" sldId="2415"/>
            <ac:spMk id="42" creationId="{C5CC7937-FDE2-4530-9819-4DAB7C35A471}"/>
          </ac:spMkLst>
        </pc:spChg>
        <pc:grpChg chg="mod">
          <ac:chgData name="Müller, Kurt (SI BP S TSS TR)" userId="e7e82c7e-80c6-42a5-ab71-24588885b7fe" providerId="ADAL" clId="{77F4ACE1-7C3F-41B5-B554-517ABA249111}" dt="2021-05-18T10:38:20.833" v="41" actId="1076"/>
          <ac:grpSpMkLst>
            <pc:docMk/>
            <pc:sldMk cId="1217175717" sldId="2415"/>
            <ac:grpSpMk id="8" creationId="{32BB6083-29B0-4D20-BE91-427A1D91E6D6}"/>
          </ac:grpSpMkLst>
        </pc:grpChg>
        <pc:grpChg chg="add mod">
          <ac:chgData name="Müller, Kurt (SI BP S TSS TR)" userId="e7e82c7e-80c6-42a5-ab71-24588885b7fe" providerId="ADAL" clId="{77F4ACE1-7C3F-41B5-B554-517ABA249111}" dt="2021-05-17T16:39:29.192" v="18" actId="1076"/>
          <ac:grpSpMkLst>
            <pc:docMk/>
            <pc:sldMk cId="1217175717" sldId="2415"/>
            <ac:grpSpMk id="21" creationId="{F87C0937-C7B6-437C-B4E4-6733F094EE98}"/>
          </ac:grpSpMkLst>
        </pc:grpChg>
        <pc:grpChg chg="mod">
          <ac:chgData name="Müller, Kurt (SI BP S TSS TR)" userId="e7e82c7e-80c6-42a5-ab71-24588885b7fe" providerId="ADAL" clId="{77F4ACE1-7C3F-41B5-B554-517ABA249111}" dt="2021-05-17T16:39:29.192" v="18" actId="1076"/>
          <ac:grpSpMkLst>
            <pc:docMk/>
            <pc:sldMk cId="1217175717" sldId="2415"/>
            <ac:grpSpMk id="22" creationId="{1D2EE257-A97C-4057-94CC-98C0E9722EF9}"/>
          </ac:grpSpMkLst>
        </pc:grpChg>
        <pc:grpChg chg="mod">
          <ac:chgData name="Müller, Kurt (SI BP S TSS TR)" userId="e7e82c7e-80c6-42a5-ab71-24588885b7fe" providerId="ADAL" clId="{77F4ACE1-7C3F-41B5-B554-517ABA249111}" dt="2021-05-17T16:39:29.192" v="18" actId="1076"/>
          <ac:grpSpMkLst>
            <pc:docMk/>
            <pc:sldMk cId="1217175717" sldId="2415"/>
            <ac:grpSpMk id="24" creationId="{8FCB56B1-BDD1-4578-8548-22EA57EA9420}"/>
          </ac:grpSpMkLst>
        </pc:grpChg>
      </pc:sldChg>
      <pc:sldChg chg="modSp mod ord">
        <pc:chgData name="Müller, Kurt (SI BP S TSS TR)" userId="e7e82c7e-80c6-42a5-ab71-24588885b7fe" providerId="ADAL" clId="{77F4ACE1-7C3F-41B5-B554-517ABA249111}" dt="2021-05-20T13:30:12.115" v="157"/>
        <pc:sldMkLst>
          <pc:docMk/>
          <pc:sldMk cId="438231851" sldId="2416"/>
        </pc:sldMkLst>
        <pc:grpChg chg="mod">
          <ac:chgData name="Müller, Kurt (SI BP S TSS TR)" userId="e7e82c7e-80c6-42a5-ab71-24588885b7fe" providerId="ADAL" clId="{77F4ACE1-7C3F-41B5-B554-517ABA249111}" dt="2021-05-18T10:37:44.012" v="38" actId="1076"/>
          <ac:grpSpMkLst>
            <pc:docMk/>
            <pc:sldMk cId="438231851" sldId="2416"/>
            <ac:grpSpMk id="51" creationId="{5F82FDA3-480E-4672-BA45-4C0E8CF94CBE}"/>
          </ac:grpSpMkLst>
        </pc:grpChg>
      </pc:sldChg>
      <pc:sldChg chg="ord">
        <pc:chgData name="Müller, Kurt (SI BP S TSS TR)" userId="e7e82c7e-80c6-42a5-ab71-24588885b7fe" providerId="ADAL" clId="{77F4ACE1-7C3F-41B5-B554-517ABA249111}" dt="2021-05-20T13:30:12.115" v="157"/>
        <pc:sldMkLst>
          <pc:docMk/>
          <pc:sldMk cId="2615247344" sldId="2417"/>
        </pc:sldMkLst>
      </pc:sldChg>
      <pc:sldChg chg="ord">
        <pc:chgData name="Müller, Kurt (SI BP S TSS TR)" userId="e7e82c7e-80c6-42a5-ab71-24588885b7fe" providerId="ADAL" clId="{77F4ACE1-7C3F-41B5-B554-517ABA249111}" dt="2021-05-20T13:28:25.859" v="123"/>
        <pc:sldMkLst>
          <pc:docMk/>
          <pc:sldMk cId="318514043" sldId="2422"/>
        </pc:sldMkLst>
      </pc:sldChg>
      <pc:sldChg chg="ord">
        <pc:chgData name="Müller, Kurt (SI BP S TSS TR)" userId="e7e82c7e-80c6-42a5-ab71-24588885b7fe" providerId="ADAL" clId="{77F4ACE1-7C3F-41B5-B554-517ABA249111}" dt="2021-05-20T13:28:25.859" v="123"/>
        <pc:sldMkLst>
          <pc:docMk/>
          <pc:sldMk cId="3671773301" sldId="2423"/>
        </pc:sldMkLst>
      </pc:sldChg>
      <pc:sldChg chg="ord">
        <pc:chgData name="Müller, Kurt (SI BP S TSS TR)" userId="e7e82c7e-80c6-42a5-ab71-24588885b7fe" providerId="ADAL" clId="{77F4ACE1-7C3F-41B5-B554-517ABA249111}" dt="2021-05-20T13:28:25.859" v="123"/>
        <pc:sldMkLst>
          <pc:docMk/>
          <pc:sldMk cId="802286998" sldId="2424"/>
        </pc:sldMkLst>
      </pc:sldChg>
      <pc:sldChg chg="addSp delSp modSp add mod ord">
        <pc:chgData name="Müller, Kurt (SI BP S TSS TR)" userId="e7e82c7e-80c6-42a5-ab71-24588885b7fe" providerId="ADAL" clId="{77F4ACE1-7C3F-41B5-B554-517ABA249111}" dt="2021-05-20T13:33:54.832" v="160" actId="1076"/>
        <pc:sldMkLst>
          <pc:docMk/>
          <pc:sldMk cId="1683107026" sldId="2571"/>
        </pc:sldMkLst>
        <pc:spChg chg="del">
          <ac:chgData name="Müller, Kurt (SI BP S TSS TR)" userId="e7e82c7e-80c6-42a5-ab71-24588885b7fe" providerId="ADAL" clId="{77F4ACE1-7C3F-41B5-B554-517ABA249111}" dt="2021-05-18T07:48:39.626" v="20" actId="478"/>
          <ac:spMkLst>
            <pc:docMk/>
            <pc:sldMk cId="1683107026" sldId="2571"/>
            <ac:spMk id="3" creationId="{AFAE7150-A105-4283-B6C3-5A51A3BD5720}"/>
          </ac:spMkLst>
        </pc:spChg>
        <pc:grpChg chg="del">
          <ac:chgData name="Müller, Kurt (SI BP S TSS TR)" userId="e7e82c7e-80c6-42a5-ab71-24588885b7fe" providerId="ADAL" clId="{77F4ACE1-7C3F-41B5-B554-517ABA249111}" dt="2021-05-18T07:48:39.626" v="20" actId="478"/>
          <ac:grpSpMkLst>
            <pc:docMk/>
            <pc:sldMk cId="1683107026" sldId="2571"/>
            <ac:grpSpMk id="4" creationId="{E351C22B-8A04-476B-A645-B6AA3B1562A2}"/>
          </ac:grpSpMkLst>
        </pc:grpChg>
        <pc:grpChg chg="del">
          <ac:chgData name="Müller, Kurt (SI BP S TSS TR)" userId="e7e82c7e-80c6-42a5-ab71-24588885b7fe" providerId="ADAL" clId="{77F4ACE1-7C3F-41B5-B554-517ABA249111}" dt="2021-05-18T07:48:39.626" v="20" actId="478"/>
          <ac:grpSpMkLst>
            <pc:docMk/>
            <pc:sldMk cId="1683107026" sldId="2571"/>
            <ac:grpSpMk id="5" creationId="{669F595A-F3B3-44C8-8CB5-09DCCC9DE011}"/>
          </ac:grpSpMkLst>
        </pc:grpChg>
        <pc:grpChg chg="del">
          <ac:chgData name="Müller, Kurt (SI BP S TSS TR)" userId="e7e82c7e-80c6-42a5-ab71-24588885b7fe" providerId="ADAL" clId="{77F4ACE1-7C3F-41B5-B554-517ABA249111}" dt="2021-05-18T07:48:39.626" v="20" actId="478"/>
          <ac:grpSpMkLst>
            <pc:docMk/>
            <pc:sldMk cId="1683107026" sldId="2571"/>
            <ac:grpSpMk id="8" creationId="{32BB6083-29B0-4D20-BE91-427A1D91E6D6}"/>
          </ac:grpSpMkLst>
        </pc:grpChg>
        <pc:grpChg chg="del">
          <ac:chgData name="Müller, Kurt (SI BP S TSS TR)" userId="e7e82c7e-80c6-42a5-ab71-24588885b7fe" providerId="ADAL" clId="{77F4ACE1-7C3F-41B5-B554-517ABA249111}" dt="2021-05-18T07:48:39.626" v="20" actId="478"/>
          <ac:grpSpMkLst>
            <pc:docMk/>
            <pc:sldMk cId="1683107026" sldId="2571"/>
            <ac:grpSpMk id="21" creationId="{F87C0937-C7B6-437C-B4E4-6733F094EE98}"/>
          </ac:grpSpMkLst>
        </pc:grpChg>
        <pc:picChg chg="add del mod">
          <ac:chgData name="Müller, Kurt (SI BP S TSS TR)" userId="e7e82c7e-80c6-42a5-ab71-24588885b7fe" providerId="ADAL" clId="{77F4ACE1-7C3F-41B5-B554-517ABA249111}" dt="2021-05-20T13:33:54.832" v="160" actId="1076"/>
          <ac:picMkLst>
            <pc:docMk/>
            <pc:sldMk cId="1683107026" sldId="2571"/>
            <ac:picMk id="11" creationId="{AE0A9E03-9FD2-499F-B5E3-A6DC8CF74ED5}"/>
          </ac:picMkLst>
        </pc:picChg>
        <pc:picChg chg="add mod">
          <ac:chgData name="Müller, Kurt (SI BP S TSS TR)" userId="e7e82c7e-80c6-42a5-ab71-24588885b7fe" providerId="ADAL" clId="{77F4ACE1-7C3F-41B5-B554-517ABA249111}" dt="2021-05-20T13:33:45.592" v="158" actId="1076"/>
          <ac:picMkLst>
            <pc:docMk/>
            <pc:sldMk cId="1683107026" sldId="2571"/>
            <ac:picMk id="13" creationId="{2F5DA1EA-AEA1-4FE2-913A-65F3D6973760}"/>
          </ac:picMkLst>
        </pc:picChg>
        <pc:picChg chg="add mod">
          <ac:chgData name="Müller, Kurt (SI BP S TSS TR)" userId="e7e82c7e-80c6-42a5-ab71-24588885b7fe" providerId="ADAL" clId="{77F4ACE1-7C3F-41B5-B554-517ABA249111}" dt="2021-05-18T07:51:19.172" v="37" actId="1076"/>
          <ac:picMkLst>
            <pc:docMk/>
            <pc:sldMk cId="1683107026" sldId="2571"/>
            <ac:picMk id="17" creationId="{877EF6B5-B38F-4DB6-9139-31B5E65D8006}"/>
          </ac:picMkLst>
        </pc:picChg>
      </pc:sldChg>
      <pc:sldChg chg="modSp add mod ord">
        <pc:chgData name="Müller, Kurt (SI BP S TSS TR)" userId="e7e82c7e-80c6-42a5-ab71-24588885b7fe" providerId="ADAL" clId="{77F4ACE1-7C3F-41B5-B554-517ABA249111}" dt="2021-05-20T13:28:58.050" v="149" actId="6549"/>
        <pc:sldMkLst>
          <pc:docMk/>
          <pc:sldMk cId="1295286918" sldId="2572"/>
        </pc:sldMkLst>
        <pc:spChg chg="mod">
          <ac:chgData name="Müller, Kurt (SI BP S TSS TR)" userId="e7e82c7e-80c6-42a5-ab71-24588885b7fe" providerId="ADAL" clId="{77F4ACE1-7C3F-41B5-B554-517ABA249111}" dt="2021-05-20T13:28:58.050" v="149" actId="6549"/>
          <ac:spMkLst>
            <pc:docMk/>
            <pc:sldMk cId="1295286918" sldId="2572"/>
            <ac:spMk id="4" creationId="{00000000-0000-0000-0000-000000000000}"/>
          </ac:spMkLst>
        </pc:spChg>
      </pc:sldChg>
      <pc:sldMasterChg chg="modSp mod">
        <pc:chgData name="Müller, Kurt (SI BP S TSS TR)" userId="e7e82c7e-80c6-42a5-ab71-24588885b7fe" providerId="ADAL" clId="{77F4ACE1-7C3F-41B5-B554-517ABA249111}" dt="2021-05-20T13:19:48.614" v="56" actId="20577"/>
        <pc:sldMasterMkLst>
          <pc:docMk/>
          <pc:sldMasterMk cId="0" sldId="2147483669"/>
        </pc:sldMasterMkLst>
        <pc:graphicFrameChg chg="modGraphic">
          <ac:chgData name="Müller, Kurt (SI BP S TSS TR)" userId="e7e82c7e-80c6-42a5-ab71-24588885b7fe" providerId="ADAL" clId="{77F4ACE1-7C3F-41B5-B554-517ABA249111}" dt="2021-05-20T13:19:48.614" v="56" actId="20577"/>
          <ac:graphicFrameMkLst>
            <pc:docMk/>
            <pc:sldMasterMk cId="0" sldId="2147483669"/>
            <ac:graphicFrameMk id="47" creationId="{A634B162-C6F9-49DC-B798-6461245F51A5}"/>
          </ac:graphicFrameMkLst>
        </pc:graphicFrameChg>
      </pc:sldMasterChg>
    </pc:docChg>
  </pc:docChgLst>
  <pc:docChgLst>
    <pc:chgData name="Müller, Kurt (SI BP S TSS TR)" userId="e7e82c7e-80c6-42a5-ab71-24588885b7fe" providerId="ADAL" clId="{9FEA2841-5B76-4EDB-8984-1B2D4375FBAF}"/>
    <pc:docChg chg="undo redo custSel addSld delSld modSld sldOrd modMainMaster">
      <pc:chgData name="Müller, Kurt (SI BP S TSS TR)" userId="e7e82c7e-80c6-42a5-ab71-24588885b7fe" providerId="ADAL" clId="{9FEA2841-5B76-4EDB-8984-1B2D4375FBAF}" dt="2021-07-21T09:55:25.035" v="1621" actId="1076"/>
      <pc:docMkLst>
        <pc:docMk/>
      </pc:docMkLst>
      <pc:sldChg chg="modSp mod ord">
        <pc:chgData name="Müller, Kurt (SI BP S TSS TR)" userId="e7e82c7e-80c6-42a5-ab71-24588885b7fe" providerId="ADAL" clId="{9FEA2841-5B76-4EDB-8984-1B2D4375FBAF}" dt="2021-07-21T09:26:09.468" v="1058" actId="1076"/>
        <pc:sldMkLst>
          <pc:docMk/>
          <pc:sldMk cId="0" sldId="500"/>
        </pc:sldMkLst>
        <pc:spChg chg="mod">
          <ac:chgData name="Müller, Kurt (SI BP S TSS TR)" userId="e7e82c7e-80c6-42a5-ab71-24588885b7fe" providerId="ADAL" clId="{9FEA2841-5B76-4EDB-8984-1B2D4375FBAF}" dt="2021-07-21T09:18:28.343" v="1052" actId="120"/>
          <ac:spMkLst>
            <pc:docMk/>
            <pc:sldMk cId="0" sldId="500"/>
            <ac:spMk id="5126" creationId="{BF2D2108-7AB9-4C70-9BD1-F29FADE5B8E9}"/>
          </ac:spMkLst>
        </pc:spChg>
        <pc:spChg chg="mod">
          <ac:chgData name="Müller, Kurt (SI BP S TSS TR)" userId="e7e82c7e-80c6-42a5-ab71-24588885b7fe" providerId="ADAL" clId="{9FEA2841-5B76-4EDB-8984-1B2D4375FBAF}" dt="2021-07-21T09:18:53.137" v="1056" actId="20577"/>
          <ac:spMkLst>
            <pc:docMk/>
            <pc:sldMk cId="0" sldId="500"/>
            <ac:spMk id="5127" creationId="{EFFE4316-AA5F-4FAB-B5F9-57094213B90D}"/>
          </ac:spMkLst>
        </pc:spChg>
        <pc:spChg chg="mod">
          <ac:chgData name="Müller, Kurt (SI BP S TSS TR)" userId="e7e82c7e-80c6-42a5-ab71-24588885b7fe" providerId="ADAL" clId="{9FEA2841-5B76-4EDB-8984-1B2D4375FBAF}" dt="2021-07-21T09:26:09.468" v="1058" actId="1076"/>
          <ac:spMkLst>
            <pc:docMk/>
            <pc:sldMk cId="0" sldId="500"/>
            <ac:spMk id="5140" creationId="{37459D76-6860-4CAE-BB75-E32F53497598}"/>
          </ac:spMkLst>
        </pc:spChg>
        <pc:spChg chg="mod">
          <ac:chgData name="Müller, Kurt (SI BP S TSS TR)" userId="e7e82c7e-80c6-42a5-ab71-24588885b7fe" providerId="ADAL" clId="{9FEA2841-5B76-4EDB-8984-1B2D4375FBAF}" dt="2021-07-21T09:26:09.468" v="1058" actId="1076"/>
          <ac:spMkLst>
            <pc:docMk/>
            <pc:sldMk cId="0" sldId="500"/>
            <ac:spMk id="5142" creationId="{5B24ED19-2A64-4F8F-A51A-33A7362E438E}"/>
          </ac:spMkLst>
        </pc:spChg>
        <pc:grpChg chg="mod">
          <ac:chgData name="Müller, Kurt (SI BP S TSS TR)" userId="e7e82c7e-80c6-42a5-ab71-24588885b7fe" providerId="ADAL" clId="{9FEA2841-5B76-4EDB-8984-1B2D4375FBAF}" dt="2021-07-21T09:26:09.468" v="1058" actId="1076"/>
          <ac:grpSpMkLst>
            <pc:docMk/>
            <pc:sldMk cId="0" sldId="500"/>
            <ac:grpSpMk id="5128" creationId="{18574174-F828-41D3-A2F0-72F5CEDBE9D8}"/>
          </ac:grpSpMkLst>
        </pc:grpChg>
        <pc:grpChg chg="mod">
          <ac:chgData name="Müller, Kurt (SI BP S TSS TR)" userId="e7e82c7e-80c6-42a5-ab71-24588885b7fe" providerId="ADAL" clId="{9FEA2841-5B76-4EDB-8984-1B2D4375FBAF}" dt="2021-07-21T09:26:09.468" v="1058" actId="1076"/>
          <ac:grpSpMkLst>
            <pc:docMk/>
            <pc:sldMk cId="0" sldId="500"/>
            <ac:grpSpMk id="5138" creationId="{B5E296E1-841C-443A-956A-1DCE3DDB76C8}"/>
          </ac:grpSpMkLst>
        </pc:grpChg>
        <pc:picChg chg="mod">
          <ac:chgData name="Müller, Kurt (SI BP S TSS TR)" userId="e7e82c7e-80c6-42a5-ab71-24588885b7fe" providerId="ADAL" clId="{9FEA2841-5B76-4EDB-8984-1B2D4375FBAF}" dt="2021-07-21T09:26:09.468" v="1058" actId="1076"/>
          <ac:picMkLst>
            <pc:docMk/>
            <pc:sldMk cId="0" sldId="500"/>
            <ac:picMk id="5139" creationId="{AAFA69D5-7CD7-4A6B-B3E0-9D3A337E70E2}"/>
          </ac:picMkLst>
        </pc:picChg>
        <pc:picChg chg="mod">
          <ac:chgData name="Müller, Kurt (SI BP S TSS TR)" userId="e7e82c7e-80c6-42a5-ab71-24588885b7fe" providerId="ADAL" clId="{9FEA2841-5B76-4EDB-8984-1B2D4375FBAF}" dt="2021-07-21T09:26:09.468" v="1058" actId="1076"/>
          <ac:picMkLst>
            <pc:docMk/>
            <pc:sldMk cId="0" sldId="500"/>
            <ac:picMk id="5141" creationId="{27E4BC73-8F77-4FA7-AB9E-AC47F2F6F172}"/>
          </ac:picMkLst>
        </pc:picChg>
      </pc:sldChg>
      <pc:sldChg chg="ord">
        <pc:chgData name="Müller, Kurt (SI BP S TSS TR)" userId="e7e82c7e-80c6-42a5-ab71-24588885b7fe" providerId="ADAL" clId="{9FEA2841-5B76-4EDB-8984-1B2D4375FBAF}" dt="2021-07-21T09:11:07.977" v="920"/>
        <pc:sldMkLst>
          <pc:docMk/>
          <pc:sldMk cId="0" sldId="501"/>
        </pc:sldMkLst>
      </pc:sldChg>
      <pc:sldChg chg="ord">
        <pc:chgData name="Müller, Kurt (SI BP S TSS TR)" userId="e7e82c7e-80c6-42a5-ab71-24588885b7fe" providerId="ADAL" clId="{9FEA2841-5B76-4EDB-8984-1B2D4375FBAF}" dt="2021-07-21T09:11:07.977" v="920"/>
        <pc:sldMkLst>
          <pc:docMk/>
          <pc:sldMk cId="0" sldId="502"/>
        </pc:sldMkLst>
      </pc:sldChg>
      <pc:sldChg chg="ord">
        <pc:chgData name="Müller, Kurt (SI BP S TSS TR)" userId="e7e82c7e-80c6-42a5-ab71-24588885b7fe" providerId="ADAL" clId="{9FEA2841-5B76-4EDB-8984-1B2D4375FBAF}" dt="2021-07-21T09:11:07.977" v="920"/>
        <pc:sldMkLst>
          <pc:docMk/>
          <pc:sldMk cId="0" sldId="503"/>
        </pc:sldMkLst>
      </pc:sldChg>
      <pc:sldChg chg="ord">
        <pc:chgData name="Müller, Kurt (SI BP S TSS TR)" userId="e7e82c7e-80c6-42a5-ab71-24588885b7fe" providerId="ADAL" clId="{9FEA2841-5B76-4EDB-8984-1B2D4375FBAF}" dt="2021-07-21T09:11:07.977" v="920"/>
        <pc:sldMkLst>
          <pc:docMk/>
          <pc:sldMk cId="0" sldId="504"/>
        </pc:sldMkLst>
      </pc:sldChg>
      <pc:sldChg chg="ord">
        <pc:chgData name="Müller, Kurt (SI BP S TSS TR)" userId="e7e82c7e-80c6-42a5-ab71-24588885b7fe" providerId="ADAL" clId="{9FEA2841-5B76-4EDB-8984-1B2D4375FBAF}" dt="2021-07-21T09:11:07.977" v="920"/>
        <pc:sldMkLst>
          <pc:docMk/>
          <pc:sldMk cId="0" sldId="505"/>
        </pc:sldMkLst>
      </pc:sldChg>
      <pc:sldChg chg="ord">
        <pc:chgData name="Müller, Kurt (SI BP S TSS TR)" userId="e7e82c7e-80c6-42a5-ab71-24588885b7fe" providerId="ADAL" clId="{9FEA2841-5B76-4EDB-8984-1B2D4375FBAF}" dt="2021-07-21T09:11:07.977" v="920"/>
        <pc:sldMkLst>
          <pc:docMk/>
          <pc:sldMk cId="0" sldId="506"/>
        </pc:sldMkLst>
      </pc:sldChg>
      <pc:sldChg chg="ord">
        <pc:chgData name="Müller, Kurt (SI BP S TSS TR)" userId="e7e82c7e-80c6-42a5-ab71-24588885b7fe" providerId="ADAL" clId="{9FEA2841-5B76-4EDB-8984-1B2D4375FBAF}" dt="2021-07-21T09:11:07.977" v="920"/>
        <pc:sldMkLst>
          <pc:docMk/>
          <pc:sldMk cId="0" sldId="507"/>
        </pc:sldMkLst>
      </pc:sldChg>
      <pc:sldChg chg="ord">
        <pc:chgData name="Müller, Kurt (SI BP S TSS TR)" userId="e7e82c7e-80c6-42a5-ab71-24588885b7fe" providerId="ADAL" clId="{9FEA2841-5B76-4EDB-8984-1B2D4375FBAF}" dt="2021-07-21T09:11:07.977" v="920"/>
        <pc:sldMkLst>
          <pc:docMk/>
          <pc:sldMk cId="0" sldId="508"/>
        </pc:sldMkLst>
      </pc:sldChg>
      <pc:sldChg chg="ord">
        <pc:chgData name="Müller, Kurt (SI BP S TSS TR)" userId="e7e82c7e-80c6-42a5-ab71-24588885b7fe" providerId="ADAL" clId="{9FEA2841-5B76-4EDB-8984-1B2D4375FBAF}" dt="2021-07-21T09:11:07.977" v="920"/>
        <pc:sldMkLst>
          <pc:docMk/>
          <pc:sldMk cId="3220879553" sldId="509"/>
        </pc:sldMkLst>
      </pc:sldChg>
      <pc:sldChg chg="ord">
        <pc:chgData name="Müller, Kurt (SI BP S TSS TR)" userId="e7e82c7e-80c6-42a5-ab71-24588885b7fe" providerId="ADAL" clId="{9FEA2841-5B76-4EDB-8984-1B2D4375FBAF}" dt="2021-07-21T09:11:07.977" v="920"/>
        <pc:sldMkLst>
          <pc:docMk/>
          <pc:sldMk cId="0" sldId="511"/>
        </pc:sldMkLst>
      </pc:sldChg>
      <pc:sldChg chg="ord">
        <pc:chgData name="Müller, Kurt (SI BP S TSS TR)" userId="e7e82c7e-80c6-42a5-ab71-24588885b7fe" providerId="ADAL" clId="{9FEA2841-5B76-4EDB-8984-1B2D4375FBAF}" dt="2021-07-21T09:11:07.977" v="920"/>
        <pc:sldMkLst>
          <pc:docMk/>
          <pc:sldMk cId="2351967476" sldId="512"/>
        </pc:sldMkLst>
      </pc:sldChg>
      <pc:sldChg chg="addSp modSp">
        <pc:chgData name="Müller, Kurt (SI BP S TSS TR)" userId="e7e82c7e-80c6-42a5-ab71-24588885b7fe" providerId="ADAL" clId="{9FEA2841-5B76-4EDB-8984-1B2D4375FBAF}" dt="2021-07-21T09:07:25.757" v="888"/>
        <pc:sldMkLst>
          <pc:docMk/>
          <pc:sldMk cId="0" sldId="879"/>
        </pc:sldMkLst>
        <pc:spChg chg="add mod">
          <ac:chgData name="Müller, Kurt (SI BP S TSS TR)" userId="e7e82c7e-80c6-42a5-ab71-24588885b7fe" providerId="ADAL" clId="{9FEA2841-5B76-4EDB-8984-1B2D4375FBAF}" dt="2021-07-21T09:07:25.757" v="888"/>
          <ac:spMkLst>
            <pc:docMk/>
            <pc:sldMk cId="0" sldId="879"/>
            <ac:spMk id="6" creationId="{8E68476E-93AD-4251-B244-8DD265734402}"/>
          </ac:spMkLst>
        </pc:spChg>
      </pc:sldChg>
      <pc:sldChg chg="addSp modSp del mod">
        <pc:chgData name="Müller, Kurt (SI BP S TSS TR)" userId="e7e82c7e-80c6-42a5-ab71-24588885b7fe" providerId="ADAL" clId="{9FEA2841-5B76-4EDB-8984-1B2D4375FBAF}" dt="2021-07-21T09:00:41.002" v="775" actId="2696"/>
        <pc:sldMkLst>
          <pc:docMk/>
          <pc:sldMk cId="169197447" sldId="959"/>
        </pc:sldMkLst>
        <pc:spChg chg="add mod">
          <ac:chgData name="Müller, Kurt (SI BP S TSS TR)" userId="e7e82c7e-80c6-42a5-ab71-24588885b7fe" providerId="ADAL" clId="{9FEA2841-5B76-4EDB-8984-1B2D4375FBAF}" dt="2021-06-10T13:35:20.200" v="43" actId="20577"/>
          <ac:spMkLst>
            <pc:docMk/>
            <pc:sldMk cId="169197447" sldId="959"/>
            <ac:spMk id="4" creationId="{C14EC4D8-C86C-4C54-A843-C69ED7086F31}"/>
          </ac:spMkLst>
        </pc:spChg>
      </pc:sldChg>
      <pc:sldChg chg="add">
        <pc:chgData name="Müller, Kurt (SI BP S TSS TR)" userId="e7e82c7e-80c6-42a5-ab71-24588885b7fe" providerId="ADAL" clId="{9FEA2841-5B76-4EDB-8984-1B2D4375FBAF}" dt="2021-07-21T09:11:21.418" v="922"/>
        <pc:sldMkLst>
          <pc:docMk/>
          <pc:sldMk cId="1838077587" sldId="959"/>
        </pc:sldMkLst>
      </pc:sldChg>
      <pc:sldChg chg="add del">
        <pc:chgData name="Müller, Kurt (SI BP S TSS TR)" userId="e7e82c7e-80c6-42a5-ab71-24588885b7fe" providerId="ADAL" clId="{9FEA2841-5B76-4EDB-8984-1B2D4375FBAF}" dt="2021-07-21T09:11:18.308" v="921" actId="2696"/>
        <pc:sldMkLst>
          <pc:docMk/>
          <pc:sldMk cId="4127826900" sldId="959"/>
        </pc:sldMkLst>
      </pc:sldChg>
      <pc:sldChg chg="addSp delSp modSp del mod">
        <pc:chgData name="Müller, Kurt (SI BP S TSS TR)" userId="e7e82c7e-80c6-42a5-ab71-24588885b7fe" providerId="ADAL" clId="{9FEA2841-5B76-4EDB-8984-1B2D4375FBAF}" dt="2021-06-22T09:01:59.668" v="760" actId="47"/>
        <pc:sldMkLst>
          <pc:docMk/>
          <pc:sldMk cId="62519991" sldId="2397"/>
        </pc:sldMkLst>
        <pc:spChg chg="add del mod">
          <ac:chgData name="Müller, Kurt (SI BP S TSS TR)" userId="e7e82c7e-80c6-42a5-ab71-24588885b7fe" providerId="ADAL" clId="{9FEA2841-5B76-4EDB-8984-1B2D4375FBAF}" dt="2021-06-22T09:01:14.975" v="752" actId="478"/>
          <ac:spMkLst>
            <pc:docMk/>
            <pc:sldMk cId="62519991" sldId="2397"/>
            <ac:spMk id="14" creationId="{2927C46E-4C94-4C20-8DC1-BDB1E0900AA3}"/>
          </ac:spMkLst>
        </pc:spChg>
        <pc:spChg chg="mod">
          <ac:chgData name="Müller, Kurt (SI BP S TSS TR)" userId="e7e82c7e-80c6-42a5-ab71-24588885b7fe" providerId="ADAL" clId="{9FEA2841-5B76-4EDB-8984-1B2D4375FBAF}" dt="2021-06-22T09:01:12.446" v="751" actId="207"/>
          <ac:spMkLst>
            <pc:docMk/>
            <pc:sldMk cId="62519991" sldId="2397"/>
            <ac:spMk id="60" creationId="{2E892B46-7CB8-47E4-8C41-E44206DBB822}"/>
          </ac:spMkLst>
        </pc:spChg>
        <pc:picChg chg="mod">
          <ac:chgData name="Müller, Kurt (SI BP S TSS TR)" userId="e7e82c7e-80c6-42a5-ab71-24588885b7fe" providerId="ADAL" clId="{9FEA2841-5B76-4EDB-8984-1B2D4375FBAF}" dt="2021-06-10T13:34:30.783" v="6" actId="1076"/>
          <ac:picMkLst>
            <pc:docMk/>
            <pc:sldMk cId="62519991" sldId="2397"/>
            <ac:picMk id="4" creationId="{672B1F64-C71F-4F16-ABE5-9E840E6BAE3D}"/>
          </ac:picMkLst>
        </pc:picChg>
        <pc:picChg chg="mod">
          <ac:chgData name="Müller, Kurt (SI BP S TSS TR)" userId="e7e82c7e-80c6-42a5-ab71-24588885b7fe" providerId="ADAL" clId="{9FEA2841-5B76-4EDB-8984-1B2D4375FBAF}" dt="2021-06-22T09:01:56.885" v="759" actId="1076"/>
          <ac:picMkLst>
            <pc:docMk/>
            <pc:sldMk cId="62519991" sldId="2397"/>
            <ac:picMk id="5" creationId="{01872989-6154-4DC6-9578-D2EEA8C31707}"/>
          </ac:picMkLst>
        </pc:picChg>
        <pc:picChg chg="del">
          <ac:chgData name="Müller, Kurt (SI BP S TSS TR)" userId="e7e82c7e-80c6-42a5-ab71-24588885b7fe" providerId="ADAL" clId="{9FEA2841-5B76-4EDB-8984-1B2D4375FBAF}" dt="2021-06-22T09:01:50.543" v="758" actId="478"/>
          <ac:picMkLst>
            <pc:docMk/>
            <pc:sldMk cId="62519991" sldId="2397"/>
            <ac:picMk id="7" creationId="{3C3084D4-0420-49E3-9287-AD7FC987A4D2}"/>
          </ac:picMkLst>
        </pc:picChg>
      </pc:sldChg>
      <pc:sldChg chg="del">
        <pc:chgData name="Müller, Kurt (SI BP S TSS TR)" userId="e7e82c7e-80c6-42a5-ab71-24588885b7fe" providerId="ADAL" clId="{9FEA2841-5B76-4EDB-8984-1B2D4375FBAF}" dt="2021-06-22T08:58:42.295" v="721" actId="47"/>
        <pc:sldMkLst>
          <pc:docMk/>
          <pc:sldMk cId="2638777451" sldId="2409"/>
        </pc:sldMkLst>
      </pc:sldChg>
      <pc:sldChg chg="addSp delSp modSp mod">
        <pc:chgData name="Müller, Kurt (SI BP S TSS TR)" userId="e7e82c7e-80c6-42a5-ab71-24588885b7fe" providerId="ADAL" clId="{9FEA2841-5B76-4EDB-8984-1B2D4375FBAF}" dt="2021-06-22T08:51:18.894" v="615" actId="1076"/>
        <pc:sldMkLst>
          <pc:docMk/>
          <pc:sldMk cId="1217175717" sldId="2415"/>
        </pc:sldMkLst>
        <pc:spChg chg="mod">
          <ac:chgData name="Müller, Kurt (SI BP S TSS TR)" userId="e7e82c7e-80c6-42a5-ab71-24588885b7fe" providerId="ADAL" clId="{9FEA2841-5B76-4EDB-8984-1B2D4375FBAF}" dt="2021-06-16T10:03:19.540" v="283" actId="1076"/>
          <ac:spMkLst>
            <pc:docMk/>
            <pc:sldMk cId="1217175717" sldId="2415"/>
            <ac:spMk id="7" creationId="{14B12527-125E-42D4-9E91-AD86F6DD68DF}"/>
          </ac:spMkLst>
        </pc:spChg>
        <pc:spChg chg="add del mod">
          <ac:chgData name="Müller, Kurt (SI BP S TSS TR)" userId="e7e82c7e-80c6-42a5-ab71-24588885b7fe" providerId="ADAL" clId="{9FEA2841-5B76-4EDB-8984-1B2D4375FBAF}" dt="2021-06-22T08:51:05.298" v="612" actId="478"/>
          <ac:spMkLst>
            <pc:docMk/>
            <pc:sldMk cId="1217175717" sldId="2415"/>
            <ac:spMk id="10" creationId="{442CA2B5-5262-4584-A8D3-33AE45A80ED1}"/>
          </ac:spMkLst>
        </pc:spChg>
        <pc:spChg chg="mod">
          <ac:chgData name="Müller, Kurt (SI BP S TSS TR)" userId="e7e82c7e-80c6-42a5-ab71-24588885b7fe" providerId="ADAL" clId="{9FEA2841-5B76-4EDB-8984-1B2D4375FBAF}" dt="2021-06-22T08:51:09.861" v="614" actId="1076"/>
          <ac:spMkLst>
            <pc:docMk/>
            <pc:sldMk cId="1217175717" sldId="2415"/>
            <ac:spMk id="23" creationId="{9F087C5A-D8B3-4C07-8146-E2A1E497AE02}"/>
          </ac:spMkLst>
        </pc:spChg>
        <pc:spChg chg="mod">
          <ac:chgData name="Müller, Kurt (SI BP S TSS TR)" userId="e7e82c7e-80c6-42a5-ab71-24588885b7fe" providerId="ADAL" clId="{9FEA2841-5B76-4EDB-8984-1B2D4375FBAF}" dt="2021-06-22T08:51:09.861" v="614" actId="1076"/>
          <ac:spMkLst>
            <pc:docMk/>
            <pc:sldMk cId="1217175717" sldId="2415"/>
            <ac:spMk id="25" creationId="{ED890EFA-4221-42E3-9001-78BF316122C4}"/>
          </ac:spMkLst>
        </pc:spChg>
        <pc:spChg chg="mod">
          <ac:chgData name="Müller, Kurt (SI BP S TSS TR)" userId="e7e82c7e-80c6-42a5-ab71-24588885b7fe" providerId="ADAL" clId="{9FEA2841-5B76-4EDB-8984-1B2D4375FBAF}" dt="2021-06-22T08:51:09.861" v="614" actId="1076"/>
          <ac:spMkLst>
            <pc:docMk/>
            <pc:sldMk cId="1217175717" sldId="2415"/>
            <ac:spMk id="31" creationId="{2C4A0621-0B7F-4712-A7E4-D9DE36F08389}"/>
          </ac:spMkLst>
        </pc:spChg>
        <pc:spChg chg="mod">
          <ac:chgData name="Müller, Kurt (SI BP S TSS TR)" userId="e7e82c7e-80c6-42a5-ab71-24588885b7fe" providerId="ADAL" clId="{9FEA2841-5B76-4EDB-8984-1B2D4375FBAF}" dt="2021-06-22T08:51:09.861" v="614" actId="1076"/>
          <ac:spMkLst>
            <pc:docMk/>
            <pc:sldMk cId="1217175717" sldId="2415"/>
            <ac:spMk id="32" creationId="{EF81387F-9354-409C-B29E-96ADC3167C8F}"/>
          </ac:spMkLst>
        </pc:spChg>
        <pc:spChg chg="mod">
          <ac:chgData name="Müller, Kurt (SI BP S TSS TR)" userId="e7e82c7e-80c6-42a5-ab71-24588885b7fe" providerId="ADAL" clId="{9FEA2841-5B76-4EDB-8984-1B2D4375FBAF}" dt="2021-06-22T08:51:09.861" v="614" actId="1076"/>
          <ac:spMkLst>
            <pc:docMk/>
            <pc:sldMk cId="1217175717" sldId="2415"/>
            <ac:spMk id="33" creationId="{050278F8-DED2-4B99-8F92-C8FDF3D38D46}"/>
          </ac:spMkLst>
        </pc:spChg>
        <pc:spChg chg="mod">
          <ac:chgData name="Müller, Kurt (SI BP S TSS TR)" userId="e7e82c7e-80c6-42a5-ab71-24588885b7fe" providerId="ADAL" clId="{9FEA2841-5B76-4EDB-8984-1B2D4375FBAF}" dt="2021-06-22T08:51:09.861" v="614" actId="1076"/>
          <ac:spMkLst>
            <pc:docMk/>
            <pc:sldMk cId="1217175717" sldId="2415"/>
            <ac:spMk id="34" creationId="{ACFD12B7-49B6-4916-B9FF-99EC27D58044}"/>
          </ac:spMkLst>
        </pc:spChg>
        <pc:spChg chg="mod">
          <ac:chgData name="Müller, Kurt (SI BP S TSS TR)" userId="e7e82c7e-80c6-42a5-ab71-24588885b7fe" providerId="ADAL" clId="{9FEA2841-5B76-4EDB-8984-1B2D4375FBAF}" dt="2021-06-22T08:51:09.861" v="614" actId="1076"/>
          <ac:spMkLst>
            <pc:docMk/>
            <pc:sldMk cId="1217175717" sldId="2415"/>
            <ac:spMk id="35" creationId="{3F1FD698-9B61-494E-A3BE-326853C7E6A0}"/>
          </ac:spMkLst>
        </pc:spChg>
        <pc:spChg chg="mod">
          <ac:chgData name="Müller, Kurt (SI BP S TSS TR)" userId="e7e82c7e-80c6-42a5-ab71-24588885b7fe" providerId="ADAL" clId="{9FEA2841-5B76-4EDB-8984-1B2D4375FBAF}" dt="2021-06-22T08:51:09.861" v="614" actId="1076"/>
          <ac:spMkLst>
            <pc:docMk/>
            <pc:sldMk cId="1217175717" sldId="2415"/>
            <ac:spMk id="36" creationId="{AC938EC3-4BB5-4FC3-929D-47653E78DF5D}"/>
          </ac:spMkLst>
        </pc:spChg>
        <pc:spChg chg="mod">
          <ac:chgData name="Müller, Kurt (SI BP S TSS TR)" userId="e7e82c7e-80c6-42a5-ab71-24588885b7fe" providerId="ADAL" clId="{9FEA2841-5B76-4EDB-8984-1B2D4375FBAF}" dt="2021-06-22T08:51:09.861" v="614" actId="1076"/>
          <ac:spMkLst>
            <pc:docMk/>
            <pc:sldMk cId="1217175717" sldId="2415"/>
            <ac:spMk id="37" creationId="{F2CD2873-84A5-40DE-82DD-9F1CEB247CFB}"/>
          </ac:spMkLst>
        </pc:spChg>
        <pc:spChg chg="mod">
          <ac:chgData name="Müller, Kurt (SI BP S TSS TR)" userId="e7e82c7e-80c6-42a5-ab71-24588885b7fe" providerId="ADAL" clId="{9FEA2841-5B76-4EDB-8984-1B2D4375FBAF}" dt="2021-06-22T08:51:09.861" v="614" actId="1076"/>
          <ac:spMkLst>
            <pc:docMk/>
            <pc:sldMk cId="1217175717" sldId="2415"/>
            <ac:spMk id="38" creationId="{337D7776-8193-4B3F-8F68-BB12D419FF66}"/>
          </ac:spMkLst>
        </pc:spChg>
        <pc:spChg chg="mod">
          <ac:chgData name="Müller, Kurt (SI BP S TSS TR)" userId="e7e82c7e-80c6-42a5-ab71-24588885b7fe" providerId="ADAL" clId="{9FEA2841-5B76-4EDB-8984-1B2D4375FBAF}" dt="2021-06-22T08:51:09.861" v="614" actId="1076"/>
          <ac:spMkLst>
            <pc:docMk/>
            <pc:sldMk cId="1217175717" sldId="2415"/>
            <ac:spMk id="39" creationId="{20AF89A9-275F-41EB-850E-A7FEE2168A31}"/>
          </ac:spMkLst>
        </pc:spChg>
        <pc:spChg chg="mod">
          <ac:chgData name="Müller, Kurt (SI BP S TSS TR)" userId="e7e82c7e-80c6-42a5-ab71-24588885b7fe" providerId="ADAL" clId="{9FEA2841-5B76-4EDB-8984-1B2D4375FBAF}" dt="2021-06-22T08:51:09.861" v="614" actId="1076"/>
          <ac:spMkLst>
            <pc:docMk/>
            <pc:sldMk cId="1217175717" sldId="2415"/>
            <ac:spMk id="40" creationId="{F09807B8-3FDF-4737-8394-FAE1C993F709}"/>
          </ac:spMkLst>
        </pc:spChg>
        <pc:spChg chg="mod">
          <ac:chgData name="Müller, Kurt (SI BP S TSS TR)" userId="e7e82c7e-80c6-42a5-ab71-24588885b7fe" providerId="ADAL" clId="{9FEA2841-5B76-4EDB-8984-1B2D4375FBAF}" dt="2021-06-22T08:51:09.861" v="614" actId="1076"/>
          <ac:spMkLst>
            <pc:docMk/>
            <pc:sldMk cId="1217175717" sldId="2415"/>
            <ac:spMk id="41" creationId="{DF40E61D-962C-43F5-A218-6242CCCD2993}"/>
          </ac:spMkLst>
        </pc:spChg>
        <pc:spChg chg="mod">
          <ac:chgData name="Müller, Kurt (SI BP S TSS TR)" userId="e7e82c7e-80c6-42a5-ab71-24588885b7fe" providerId="ADAL" clId="{9FEA2841-5B76-4EDB-8984-1B2D4375FBAF}" dt="2021-06-22T08:51:09.861" v="614" actId="1076"/>
          <ac:spMkLst>
            <pc:docMk/>
            <pc:sldMk cId="1217175717" sldId="2415"/>
            <ac:spMk id="42" creationId="{C5CC7937-FDE2-4530-9819-4DAB7C35A471}"/>
          </ac:spMkLst>
        </pc:spChg>
        <pc:spChg chg="add mod">
          <ac:chgData name="Müller, Kurt (SI BP S TSS TR)" userId="e7e82c7e-80c6-42a5-ab71-24588885b7fe" providerId="ADAL" clId="{9FEA2841-5B76-4EDB-8984-1B2D4375FBAF}" dt="2021-06-22T08:51:18.894" v="615" actId="1076"/>
          <ac:spMkLst>
            <pc:docMk/>
            <pc:sldMk cId="1217175717" sldId="2415"/>
            <ac:spMk id="45" creationId="{25D03255-4EE9-4709-9111-21F0851C4725}"/>
          </ac:spMkLst>
        </pc:spChg>
        <pc:spChg chg="add mod">
          <ac:chgData name="Müller, Kurt (SI BP S TSS TR)" userId="e7e82c7e-80c6-42a5-ab71-24588885b7fe" providerId="ADAL" clId="{9FEA2841-5B76-4EDB-8984-1B2D4375FBAF}" dt="2021-06-22T08:51:18.894" v="615" actId="1076"/>
          <ac:spMkLst>
            <pc:docMk/>
            <pc:sldMk cId="1217175717" sldId="2415"/>
            <ac:spMk id="46" creationId="{7674E7AA-81CB-4EEA-9E3E-83023D05C41D}"/>
          </ac:spMkLst>
        </pc:spChg>
        <pc:grpChg chg="mod">
          <ac:chgData name="Müller, Kurt (SI BP S TSS TR)" userId="e7e82c7e-80c6-42a5-ab71-24588885b7fe" providerId="ADAL" clId="{9FEA2841-5B76-4EDB-8984-1B2D4375FBAF}" dt="2021-06-16T09:26:10.801" v="44" actId="1076"/>
          <ac:grpSpMkLst>
            <pc:docMk/>
            <pc:sldMk cId="1217175717" sldId="2415"/>
            <ac:grpSpMk id="4" creationId="{E351C22B-8A04-476B-A645-B6AA3B1562A2}"/>
          </ac:grpSpMkLst>
        </pc:grpChg>
        <pc:grpChg chg="mod">
          <ac:chgData name="Müller, Kurt (SI BP S TSS TR)" userId="e7e82c7e-80c6-42a5-ab71-24588885b7fe" providerId="ADAL" clId="{9FEA2841-5B76-4EDB-8984-1B2D4375FBAF}" dt="2021-06-16T10:03:19.540" v="283" actId="1076"/>
          <ac:grpSpMkLst>
            <pc:docMk/>
            <pc:sldMk cId="1217175717" sldId="2415"/>
            <ac:grpSpMk id="8" creationId="{32BB6083-29B0-4D20-BE91-427A1D91E6D6}"/>
          </ac:grpSpMkLst>
        </pc:grpChg>
        <pc:grpChg chg="mod">
          <ac:chgData name="Müller, Kurt (SI BP S TSS TR)" userId="e7e82c7e-80c6-42a5-ab71-24588885b7fe" providerId="ADAL" clId="{9FEA2841-5B76-4EDB-8984-1B2D4375FBAF}" dt="2021-06-22T08:51:09.861" v="614" actId="1076"/>
          <ac:grpSpMkLst>
            <pc:docMk/>
            <pc:sldMk cId="1217175717" sldId="2415"/>
            <ac:grpSpMk id="21" creationId="{F87C0937-C7B6-437C-B4E4-6733F094EE98}"/>
          </ac:grpSpMkLst>
        </pc:grpChg>
        <pc:grpChg chg="mod">
          <ac:chgData name="Müller, Kurt (SI BP S TSS TR)" userId="e7e82c7e-80c6-42a5-ab71-24588885b7fe" providerId="ADAL" clId="{9FEA2841-5B76-4EDB-8984-1B2D4375FBAF}" dt="2021-06-22T08:51:09.861" v="614" actId="1076"/>
          <ac:grpSpMkLst>
            <pc:docMk/>
            <pc:sldMk cId="1217175717" sldId="2415"/>
            <ac:grpSpMk id="22" creationId="{1D2EE257-A97C-4057-94CC-98C0E9722EF9}"/>
          </ac:grpSpMkLst>
        </pc:grpChg>
        <pc:grpChg chg="mod">
          <ac:chgData name="Müller, Kurt (SI BP S TSS TR)" userId="e7e82c7e-80c6-42a5-ab71-24588885b7fe" providerId="ADAL" clId="{9FEA2841-5B76-4EDB-8984-1B2D4375FBAF}" dt="2021-06-22T08:51:09.861" v="614" actId="1076"/>
          <ac:grpSpMkLst>
            <pc:docMk/>
            <pc:sldMk cId="1217175717" sldId="2415"/>
            <ac:grpSpMk id="24" creationId="{8FCB56B1-BDD1-4578-8548-22EA57EA9420}"/>
          </ac:grpSpMkLst>
        </pc:grpChg>
        <pc:picChg chg="mod">
          <ac:chgData name="Müller, Kurt (SI BP S TSS TR)" userId="e7e82c7e-80c6-42a5-ab71-24588885b7fe" providerId="ADAL" clId="{9FEA2841-5B76-4EDB-8984-1B2D4375FBAF}" dt="2021-06-16T10:03:19.540" v="283" actId="1076"/>
          <ac:picMkLst>
            <pc:docMk/>
            <pc:sldMk cId="1217175717" sldId="2415"/>
            <ac:picMk id="14" creationId="{65024F8A-0004-4209-BC86-5F8F5CC7CC82}"/>
          </ac:picMkLst>
        </pc:picChg>
        <pc:picChg chg="mod">
          <ac:chgData name="Müller, Kurt (SI BP S TSS TR)" userId="e7e82c7e-80c6-42a5-ab71-24588885b7fe" providerId="ADAL" clId="{9FEA2841-5B76-4EDB-8984-1B2D4375FBAF}" dt="2021-06-16T10:03:19.540" v="283" actId="1076"/>
          <ac:picMkLst>
            <pc:docMk/>
            <pc:sldMk cId="1217175717" sldId="2415"/>
            <ac:picMk id="16" creationId="{A265C3DF-1A98-4083-8E80-7171C4BB29AF}"/>
          </ac:picMkLst>
        </pc:picChg>
        <pc:picChg chg="mod">
          <ac:chgData name="Müller, Kurt (SI BP S TSS TR)" userId="e7e82c7e-80c6-42a5-ab71-24588885b7fe" providerId="ADAL" clId="{9FEA2841-5B76-4EDB-8984-1B2D4375FBAF}" dt="2021-06-16T10:03:19.540" v="283" actId="1076"/>
          <ac:picMkLst>
            <pc:docMk/>
            <pc:sldMk cId="1217175717" sldId="2415"/>
            <ac:picMk id="18" creationId="{3CB22C68-FE45-41F5-BE1E-10040D0A85BD}"/>
          </ac:picMkLst>
        </pc:picChg>
        <pc:picChg chg="mod">
          <ac:chgData name="Müller, Kurt (SI BP S TSS TR)" userId="e7e82c7e-80c6-42a5-ab71-24588885b7fe" providerId="ADAL" clId="{9FEA2841-5B76-4EDB-8984-1B2D4375FBAF}" dt="2021-06-16T10:03:19.540" v="283" actId="1076"/>
          <ac:picMkLst>
            <pc:docMk/>
            <pc:sldMk cId="1217175717" sldId="2415"/>
            <ac:picMk id="20" creationId="{10E1630A-EB2F-4136-864D-44AF840B977B}"/>
          </ac:picMkLst>
        </pc:picChg>
        <pc:picChg chg="add del mod">
          <ac:chgData name="Müller, Kurt (SI BP S TSS TR)" userId="e7e82c7e-80c6-42a5-ab71-24588885b7fe" providerId="ADAL" clId="{9FEA2841-5B76-4EDB-8984-1B2D4375FBAF}" dt="2021-06-16T09:32:41.859" v="47" actId="21"/>
          <ac:picMkLst>
            <pc:docMk/>
            <pc:sldMk cId="1217175717" sldId="2415"/>
            <ac:picMk id="43" creationId="{E0EEF25C-2B7F-42AD-922D-5294E52C8088}"/>
          </ac:picMkLst>
        </pc:picChg>
        <pc:picChg chg="add del mod">
          <ac:chgData name="Müller, Kurt (SI BP S TSS TR)" userId="e7e82c7e-80c6-42a5-ab71-24588885b7fe" providerId="ADAL" clId="{9FEA2841-5B76-4EDB-8984-1B2D4375FBAF}" dt="2021-06-22T08:51:06.306" v="613" actId="478"/>
          <ac:picMkLst>
            <pc:docMk/>
            <pc:sldMk cId="1217175717" sldId="2415"/>
            <ac:picMk id="44" creationId="{C1F50641-BB71-452D-9467-7F7CB44455BE}"/>
          </ac:picMkLst>
        </pc:picChg>
      </pc:sldChg>
      <pc:sldChg chg="addSp delSp modSp mod">
        <pc:chgData name="Müller, Kurt (SI BP S TSS TR)" userId="e7e82c7e-80c6-42a5-ab71-24588885b7fe" providerId="ADAL" clId="{9FEA2841-5B76-4EDB-8984-1B2D4375FBAF}" dt="2021-06-17T13:25:57.058" v="310" actId="1076"/>
        <pc:sldMkLst>
          <pc:docMk/>
          <pc:sldMk cId="825092287" sldId="2435"/>
        </pc:sldMkLst>
        <pc:spChg chg="mod">
          <ac:chgData name="Müller, Kurt (SI BP S TSS TR)" userId="e7e82c7e-80c6-42a5-ab71-24588885b7fe" providerId="ADAL" clId="{9FEA2841-5B76-4EDB-8984-1B2D4375FBAF}" dt="2021-06-16T13:38:30.215" v="296" actId="13926"/>
          <ac:spMkLst>
            <pc:docMk/>
            <pc:sldMk cId="825092287" sldId="2435"/>
            <ac:spMk id="3" creationId="{50E17820-B62F-4719-80D9-FEC26EF1D72C}"/>
          </ac:spMkLst>
        </pc:spChg>
        <pc:spChg chg="add mod">
          <ac:chgData name="Müller, Kurt (SI BP S TSS TR)" userId="e7e82c7e-80c6-42a5-ab71-24588885b7fe" providerId="ADAL" clId="{9FEA2841-5B76-4EDB-8984-1B2D4375FBAF}" dt="2021-06-16T09:39:46.407" v="89" actId="1076"/>
          <ac:spMkLst>
            <pc:docMk/>
            <pc:sldMk cId="825092287" sldId="2435"/>
            <ac:spMk id="5" creationId="{E222626C-A4EF-41F5-8034-F9486E1E6FC0}"/>
          </ac:spMkLst>
        </pc:spChg>
        <pc:spChg chg="add mod">
          <ac:chgData name="Müller, Kurt (SI BP S TSS TR)" userId="e7e82c7e-80c6-42a5-ab71-24588885b7fe" providerId="ADAL" clId="{9FEA2841-5B76-4EDB-8984-1B2D4375FBAF}" dt="2021-06-16T09:44:11.102" v="188" actId="1076"/>
          <ac:spMkLst>
            <pc:docMk/>
            <pc:sldMk cId="825092287" sldId="2435"/>
            <ac:spMk id="6" creationId="{C1ABA303-3CB9-413D-A9AF-6A61CF76E15B}"/>
          </ac:spMkLst>
        </pc:spChg>
        <pc:spChg chg="add mod">
          <ac:chgData name="Müller, Kurt (SI BP S TSS TR)" userId="e7e82c7e-80c6-42a5-ab71-24588885b7fe" providerId="ADAL" clId="{9FEA2841-5B76-4EDB-8984-1B2D4375FBAF}" dt="2021-06-16T09:51:08.927" v="214" actId="14100"/>
          <ac:spMkLst>
            <pc:docMk/>
            <pc:sldMk cId="825092287" sldId="2435"/>
            <ac:spMk id="7" creationId="{4F8378F1-EC50-466E-972E-3B50691E412F}"/>
          </ac:spMkLst>
        </pc:spChg>
        <pc:spChg chg="mod">
          <ac:chgData name="Müller, Kurt (SI BP S TSS TR)" userId="e7e82c7e-80c6-42a5-ab71-24588885b7fe" providerId="ADAL" clId="{9FEA2841-5B76-4EDB-8984-1B2D4375FBAF}" dt="2021-06-16T09:39:10.865" v="66" actId="1076"/>
          <ac:spMkLst>
            <pc:docMk/>
            <pc:sldMk cId="825092287" sldId="2435"/>
            <ac:spMk id="22" creationId="{AF761073-8DF1-458B-9E2F-4F0A068ADD0E}"/>
          </ac:spMkLst>
        </pc:spChg>
        <pc:spChg chg="mod">
          <ac:chgData name="Müller, Kurt (SI BP S TSS TR)" userId="e7e82c7e-80c6-42a5-ab71-24588885b7fe" providerId="ADAL" clId="{9FEA2841-5B76-4EDB-8984-1B2D4375FBAF}" dt="2021-06-16T09:39:10.865" v="66" actId="1076"/>
          <ac:spMkLst>
            <pc:docMk/>
            <pc:sldMk cId="825092287" sldId="2435"/>
            <ac:spMk id="23" creationId="{338FF659-1302-416F-B7B7-F97C519A1DA2}"/>
          </ac:spMkLst>
        </pc:spChg>
        <pc:spChg chg="mod">
          <ac:chgData name="Müller, Kurt (SI BP S TSS TR)" userId="e7e82c7e-80c6-42a5-ab71-24588885b7fe" providerId="ADAL" clId="{9FEA2841-5B76-4EDB-8984-1B2D4375FBAF}" dt="2021-06-16T09:39:10.865" v="66" actId="1076"/>
          <ac:spMkLst>
            <pc:docMk/>
            <pc:sldMk cId="825092287" sldId="2435"/>
            <ac:spMk id="26" creationId="{C778615C-666C-4DDD-A31E-B73CAC1070A1}"/>
          </ac:spMkLst>
        </pc:spChg>
        <pc:spChg chg="mod">
          <ac:chgData name="Müller, Kurt (SI BP S TSS TR)" userId="e7e82c7e-80c6-42a5-ab71-24588885b7fe" providerId="ADAL" clId="{9FEA2841-5B76-4EDB-8984-1B2D4375FBAF}" dt="2021-06-16T09:39:10.865" v="66" actId="1076"/>
          <ac:spMkLst>
            <pc:docMk/>
            <pc:sldMk cId="825092287" sldId="2435"/>
            <ac:spMk id="27" creationId="{26DFE6A6-FE92-4145-A691-7EB881B2EBCD}"/>
          </ac:spMkLst>
        </pc:spChg>
        <pc:spChg chg="mod">
          <ac:chgData name="Müller, Kurt (SI BP S TSS TR)" userId="e7e82c7e-80c6-42a5-ab71-24588885b7fe" providerId="ADAL" clId="{9FEA2841-5B76-4EDB-8984-1B2D4375FBAF}" dt="2021-06-16T09:39:10.865" v="66" actId="1076"/>
          <ac:spMkLst>
            <pc:docMk/>
            <pc:sldMk cId="825092287" sldId="2435"/>
            <ac:spMk id="28" creationId="{AAA243E4-38E2-41B5-ABFA-20FBA7C6AB88}"/>
          </ac:spMkLst>
        </pc:spChg>
        <pc:spChg chg="mod">
          <ac:chgData name="Müller, Kurt (SI BP S TSS TR)" userId="e7e82c7e-80c6-42a5-ab71-24588885b7fe" providerId="ADAL" clId="{9FEA2841-5B76-4EDB-8984-1B2D4375FBAF}" dt="2021-06-16T09:39:10.865" v="66" actId="1076"/>
          <ac:spMkLst>
            <pc:docMk/>
            <pc:sldMk cId="825092287" sldId="2435"/>
            <ac:spMk id="29" creationId="{F10D8971-516F-4806-88DA-EE7C9163740C}"/>
          </ac:spMkLst>
        </pc:spChg>
        <pc:spChg chg="mod">
          <ac:chgData name="Müller, Kurt (SI BP S TSS TR)" userId="e7e82c7e-80c6-42a5-ab71-24588885b7fe" providerId="ADAL" clId="{9FEA2841-5B76-4EDB-8984-1B2D4375FBAF}" dt="2021-06-16T09:39:10.865" v="66" actId="1076"/>
          <ac:spMkLst>
            <pc:docMk/>
            <pc:sldMk cId="825092287" sldId="2435"/>
            <ac:spMk id="30" creationId="{842DEE96-EAB0-44CF-93DE-803F4EA56ACD}"/>
          </ac:spMkLst>
        </pc:spChg>
        <pc:spChg chg="mod">
          <ac:chgData name="Müller, Kurt (SI BP S TSS TR)" userId="e7e82c7e-80c6-42a5-ab71-24588885b7fe" providerId="ADAL" clId="{9FEA2841-5B76-4EDB-8984-1B2D4375FBAF}" dt="2021-06-16T09:39:10.865" v="66" actId="1076"/>
          <ac:spMkLst>
            <pc:docMk/>
            <pc:sldMk cId="825092287" sldId="2435"/>
            <ac:spMk id="31" creationId="{0DA81FC7-EA01-4744-A0F0-E4327FCF2136}"/>
          </ac:spMkLst>
        </pc:spChg>
        <pc:spChg chg="mod">
          <ac:chgData name="Müller, Kurt (SI BP S TSS TR)" userId="e7e82c7e-80c6-42a5-ab71-24588885b7fe" providerId="ADAL" clId="{9FEA2841-5B76-4EDB-8984-1B2D4375FBAF}" dt="2021-06-16T09:39:10.865" v="66" actId="1076"/>
          <ac:spMkLst>
            <pc:docMk/>
            <pc:sldMk cId="825092287" sldId="2435"/>
            <ac:spMk id="34" creationId="{57018691-C940-472E-A046-1F865C6BEBC8}"/>
          </ac:spMkLst>
        </pc:spChg>
        <pc:spChg chg="mod">
          <ac:chgData name="Müller, Kurt (SI BP S TSS TR)" userId="e7e82c7e-80c6-42a5-ab71-24588885b7fe" providerId="ADAL" clId="{9FEA2841-5B76-4EDB-8984-1B2D4375FBAF}" dt="2021-06-16T09:39:10.865" v="66" actId="1076"/>
          <ac:spMkLst>
            <pc:docMk/>
            <pc:sldMk cId="825092287" sldId="2435"/>
            <ac:spMk id="35" creationId="{A29870DC-5BB4-4293-929C-1A9AE74052BD}"/>
          </ac:spMkLst>
        </pc:spChg>
        <pc:spChg chg="mod">
          <ac:chgData name="Müller, Kurt (SI BP S TSS TR)" userId="e7e82c7e-80c6-42a5-ab71-24588885b7fe" providerId="ADAL" clId="{9FEA2841-5B76-4EDB-8984-1B2D4375FBAF}" dt="2021-06-16T09:39:10.865" v="66" actId="1076"/>
          <ac:spMkLst>
            <pc:docMk/>
            <pc:sldMk cId="825092287" sldId="2435"/>
            <ac:spMk id="36" creationId="{D94D9496-E3C5-4DAA-A1D8-281C0A174931}"/>
          </ac:spMkLst>
        </pc:spChg>
        <pc:spChg chg="mod">
          <ac:chgData name="Müller, Kurt (SI BP S TSS TR)" userId="e7e82c7e-80c6-42a5-ab71-24588885b7fe" providerId="ADAL" clId="{9FEA2841-5B76-4EDB-8984-1B2D4375FBAF}" dt="2021-06-16T09:39:10.865" v="66" actId="1076"/>
          <ac:spMkLst>
            <pc:docMk/>
            <pc:sldMk cId="825092287" sldId="2435"/>
            <ac:spMk id="37" creationId="{457A5466-6593-488B-AABD-DE460C3BFA4F}"/>
          </ac:spMkLst>
        </pc:spChg>
        <pc:spChg chg="mod">
          <ac:chgData name="Müller, Kurt (SI BP S TSS TR)" userId="e7e82c7e-80c6-42a5-ab71-24588885b7fe" providerId="ADAL" clId="{9FEA2841-5B76-4EDB-8984-1B2D4375FBAF}" dt="2021-06-16T09:39:10.865" v="66" actId="1076"/>
          <ac:spMkLst>
            <pc:docMk/>
            <pc:sldMk cId="825092287" sldId="2435"/>
            <ac:spMk id="38" creationId="{3C91781E-D87C-404D-919E-13137FE21F47}"/>
          </ac:spMkLst>
        </pc:spChg>
        <pc:spChg chg="mod">
          <ac:chgData name="Müller, Kurt (SI BP S TSS TR)" userId="e7e82c7e-80c6-42a5-ab71-24588885b7fe" providerId="ADAL" clId="{9FEA2841-5B76-4EDB-8984-1B2D4375FBAF}" dt="2021-06-16T09:39:10.865" v="66" actId="1076"/>
          <ac:spMkLst>
            <pc:docMk/>
            <pc:sldMk cId="825092287" sldId="2435"/>
            <ac:spMk id="54" creationId="{32E66FAD-2610-46E9-B6CD-263905AA9E42}"/>
          </ac:spMkLst>
        </pc:spChg>
        <pc:spChg chg="mod">
          <ac:chgData name="Müller, Kurt (SI BP S TSS TR)" userId="e7e82c7e-80c6-42a5-ab71-24588885b7fe" providerId="ADAL" clId="{9FEA2841-5B76-4EDB-8984-1B2D4375FBAF}" dt="2021-06-16T09:39:10.865" v="66" actId="1076"/>
          <ac:spMkLst>
            <pc:docMk/>
            <pc:sldMk cId="825092287" sldId="2435"/>
            <ac:spMk id="55" creationId="{B4210E4D-60EB-44EC-872F-8B1B76186B6E}"/>
          </ac:spMkLst>
        </pc:spChg>
        <pc:spChg chg="mod">
          <ac:chgData name="Müller, Kurt (SI BP S TSS TR)" userId="e7e82c7e-80c6-42a5-ab71-24588885b7fe" providerId="ADAL" clId="{9FEA2841-5B76-4EDB-8984-1B2D4375FBAF}" dt="2021-06-16T09:39:10.865" v="66" actId="1076"/>
          <ac:spMkLst>
            <pc:docMk/>
            <pc:sldMk cId="825092287" sldId="2435"/>
            <ac:spMk id="56" creationId="{CDF05A9F-BA65-4452-9AC2-8C30EAA6AEFF}"/>
          </ac:spMkLst>
        </pc:spChg>
        <pc:spChg chg="mod">
          <ac:chgData name="Müller, Kurt (SI BP S TSS TR)" userId="e7e82c7e-80c6-42a5-ab71-24588885b7fe" providerId="ADAL" clId="{9FEA2841-5B76-4EDB-8984-1B2D4375FBAF}" dt="2021-06-16T09:39:10.865" v="66" actId="1076"/>
          <ac:spMkLst>
            <pc:docMk/>
            <pc:sldMk cId="825092287" sldId="2435"/>
            <ac:spMk id="57" creationId="{1C8A0742-176E-4CD7-9D55-94BD528B391E}"/>
          </ac:spMkLst>
        </pc:spChg>
        <pc:spChg chg="mod">
          <ac:chgData name="Müller, Kurt (SI BP S TSS TR)" userId="e7e82c7e-80c6-42a5-ab71-24588885b7fe" providerId="ADAL" clId="{9FEA2841-5B76-4EDB-8984-1B2D4375FBAF}" dt="2021-06-16T09:39:10.865" v="66" actId="1076"/>
          <ac:spMkLst>
            <pc:docMk/>
            <pc:sldMk cId="825092287" sldId="2435"/>
            <ac:spMk id="59" creationId="{BF8174D7-6A61-40B9-AD99-010C5BCA0926}"/>
          </ac:spMkLst>
        </pc:spChg>
        <pc:spChg chg="mod">
          <ac:chgData name="Müller, Kurt (SI BP S TSS TR)" userId="e7e82c7e-80c6-42a5-ab71-24588885b7fe" providerId="ADAL" clId="{9FEA2841-5B76-4EDB-8984-1B2D4375FBAF}" dt="2021-06-16T09:39:10.865" v="66" actId="1076"/>
          <ac:spMkLst>
            <pc:docMk/>
            <pc:sldMk cId="825092287" sldId="2435"/>
            <ac:spMk id="61" creationId="{643ACF7F-E563-4737-AAEA-62AAC350D031}"/>
          </ac:spMkLst>
        </pc:spChg>
        <pc:spChg chg="mod">
          <ac:chgData name="Müller, Kurt (SI BP S TSS TR)" userId="e7e82c7e-80c6-42a5-ab71-24588885b7fe" providerId="ADAL" clId="{9FEA2841-5B76-4EDB-8984-1B2D4375FBAF}" dt="2021-06-16T09:39:10.865" v="66" actId="1076"/>
          <ac:spMkLst>
            <pc:docMk/>
            <pc:sldMk cId="825092287" sldId="2435"/>
            <ac:spMk id="62" creationId="{1D5AF896-E284-4F4A-A986-645B2CF31245}"/>
          </ac:spMkLst>
        </pc:spChg>
        <pc:spChg chg="mod">
          <ac:chgData name="Müller, Kurt (SI BP S TSS TR)" userId="e7e82c7e-80c6-42a5-ab71-24588885b7fe" providerId="ADAL" clId="{9FEA2841-5B76-4EDB-8984-1B2D4375FBAF}" dt="2021-06-16T09:39:10.865" v="66" actId="1076"/>
          <ac:spMkLst>
            <pc:docMk/>
            <pc:sldMk cId="825092287" sldId="2435"/>
            <ac:spMk id="63" creationId="{2FC1CD2B-CDF8-4FCC-A689-F7EDE6982491}"/>
          </ac:spMkLst>
        </pc:spChg>
        <pc:spChg chg="mod">
          <ac:chgData name="Müller, Kurt (SI BP S TSS TR)" userId="e7e82c7e-80c6-42a5-ab71-24588885b7fe" providerId="ADAL" clId="{9FEA2841-5B76-4EDB-8984-1B2D4375FBAF}" dt="2021-06-16T09:39:10.865" v="66" actId="1076"/>
          <ac:spMkLst>
            <pc:docMk/>
            <pc:sldMk cId="825092287" sldId="2435"/>
            <ac:spMk id="64" creationId="{CCEADED5-2FED-49E0-B269-1FBA3408C653}"/>
          </ac:spMkLst>
        </pc:spChg>
        <pc:spChg chg="mod">
          <ac:chgData name="Müller, Kurt (SI BP S TSS TR)" userId="e7e82c7e-80c6-42a5-ab71-24588885b7fe" providerId="ADAL" clId="{9FEA2841-5B76-4EDB-8984-1B2D4375FBAF}" dt="2021-06-16T09:39:10.865" v="66" actId="1076"/>
          <ac:spMkLst>
            <pc:docMk/>
            <pc:sldMk cId="825092287" sldId="2435"/>
            <ac:spMk id="65" creationId="{3BCE35AF-0D4E-4A45-B6CA-E1E3796EB413}"/>
          </ac:spMkLst>
        </pc:spChg>
        <pc:spChg chg="mod">
          <ac:chgData name="Müller, Kurt (SI BP S TSS TR)" userId="e7e82c7e-80c6-42a5-ab71-24588885b7fe" providerId="ADAL" clId="{9FEA2841-5B76-4EDB-8984-1B2D4375FBAF}" dt="2021-06-16T09:39:10.865" v="66" actId="1076"/>
          <ac:spMkLst>
            <pc:docMk/>
            <pc:sldMk cId="825092287" sldId="2435"/>
            <ac:spMk id="66" creationId="{A2AF41FF-9A05-49AD-BA7F-8CE1033FEF8F}"/>
          </ac:spMkLst>
        </pc:spChg>
        <pc:spChg chg="mod">
          <ac:chgData name="Müller, Kurt (SI BP S TSS TR)" userId="e7e82c7e-80c6-42a5-ab71-24588885b7fe" providerId="ADAL" clId="{9FEA2841-5B76-4EDB-8984-1B2D4375FBAF}" dt="2021-06-16T09:39:10.865" v="66" actId="1076"/>
          <ac:spMkLst>
            <pc:docMk/>
            <pc:sldMk cId="825092287" sldId="2435"/>
            <ac:spMk id="67" creationId="{C690C524-9F9A-4344-A3D3-35FF656AB560}"/>
          </ac:spMkLst>
        </pc:spChg>
        <pc:spChg chg="mod">
          <ac:chgData name="Müller, Kurt (SI BP S TSS TR)" userId="e7e82c7e-80c6-42a5-ab71-24588885b7fe" providerId="ADAL" clId="{9FEA2841-5B76-4EDB-8984-1B2D4375FBAF}" dt="2021-06-16T09:39:10.865" v="66" actId="1076"/>
          <ac:spMkLst>
            <pc:docMk/>
            <pc:sldMk cId="825092287" sldId="2435"/>
            <ac:spMk id="68" creationId="{C9A89DDD-BDCF-4B1E-803C-355D32B6A024}"/>
          </ac:spMkLst>
        </pc:spChg>
        <pc:spChg chg="mod">
          <ac:chgData name="Müller, Kurt (SI BP S TSS TR)" userId="e7e82c7e-80c6-42a5-ab71-24588885b7fe" providerId="ADAL" clId="{9FEA2841-5B76-4EDB-8984-1B2D4375FBAF}" dt="2021-06-16T09:39:10.865" v="66" actId="1076"/>
          <ac:spMkLst>
            <pc:docMk/>
            <pc:sldMk cId="825092287" sldId="2435"/>
            <ac:spMk id="69" creationId="{8ACE6B38-5515-4FCE-975D-521A4F08BFAE}"/>
          </ac:spMkLst>
        </pc:spChg>
        <pc:spChg chg="mod">
          <ac:chgData name="Müller, Kurt (SI BP S TSS TR)" userId="e7e82c7e-80c6-42a5-ab71-24588885b7fe" providerId="ADAL" clId="{9FEA2841-5B76-4EDB-8984-1B2D4375FBAF}" dt="2021-06-16T09:39:10.865" v="66" actId="1076"/>
          <ac:spMkLst>
            <pc:docMk/>
            <pc:sldMk cId="825092287" sldId="2435"/>
            <ac:spMk id="70" creationId="{DAABB351-BBF0-4C9A-AE0C-384A4BAE2C3D}"/>
          </ac:spMkLst>
        </pc:spChg>
        <pc:spChg chg="mod">
          <ac:chgData name="Müller, Kurt (SI BP S TSS TR)" userId="e7e82c7e-80c6-42a5-ab71-24588885b7fe" providerId="ADAL" clId="{9FEA2841-5B76-4EDB-8984-1B2D4375FBAF}" dt="2021-06-16T09:39:10.865" v="66" actId="1076"/>
          <ac:spMkLst>
            <pc:docMk/>
            <pc:sldMk cId="825092287" sldId="2435"/>
            <ac:spMk id="71" creationId="{2A181A1C-E5F9-4666-B2C8-B314E0FCA2D0}"/>
          </ac:spMkLst>
        </pc:spChg>
        <pc:spChg chg="mod">
          <ac:chgData name="Müller, Kurt (SI BP S TSS TR)" userId="e7e82c7e-80c6-42a5-ab71-24588885b7fe" providerId="ADAL" clId="{9FEA2841-5B76-4EDB-8984-1B2D4375FBAF}" dt="2021-06-16T09:39:10.865" v="66" actId="1076"/>
          <ac:spMkLst>
            <pc:docMk/>
            <pc:sldMk cId="825092287" sldId="2435"/>
            <ac:spMk id="72" creationId="{DB76AAC6-A287-4086-B47B-EE828FA61736}"/>
          </ac:spMkLst>
        </pc:spChg>
        <pc:spChg chg="mod">
          <ac:chgData name="Müller, Kurt (SI BP S TSS TR)" userId="e7e82c7e-80c6-42a5-ab71-24588885b7fe" providerId="ADAL" clId="{9FEA2841-5B76-4EDB-8984-1B2D4375FBAF}" dt="2021-06-16T09:39:10.865" v="66" actId="1076"/>
          <ac:spMkLst>
            <pc:docMk/>
            <pc:sldMk cId="825092287" sldId="2435"/>
            <ac:spMk id="73" creationId="{B94CAE20-94E8-4389-86F0-E6B7EF290C83}"/>
          </ac:spMkLst>
        </pc:spChg>
        <pc:spChg chg="mod">
          <ac:chgData name="Müller, Kurt (SI BP S TSS TR)" userId="e7e82c7e-80c6-42a5-ab71-24588885b7fe" providerId="ADAL" clId="{9FEA2841-5B76-4EDB-8984-1B2D4375FBAF}" dt="2021-06-16T09:39:10.865" v="66" actId="1076"/>
          <ac:spMkLst>
            <pc:docMk/>
            <pc:sldMk cId="825092287" sldId="2435"/>
            <ac:spMk id="74" creationId="{B42BAD01-3948-4B34-BE5C-EBD852F68D84}"/>
          </ac:spMkLst>
        </pc:spChg>
        <pc:spChg chg="mod">
          <ac:chgData name="Müller, Kurt (SI BP S TSS TR)" userId="e7e82c7e-80c6-42a5-ab71-24588885b7fe" providerId="ADAL" clId="{9FEA2841-5B76-4EDB-8984-1B2D4375FBAF}" dt="2021-06-16T09:39:10.865" v="66" actId="1076"/>
          <ac:spMkLst>
            <pc:docMk/>
            <pc:sldMk cId="825092287" sldId="2435"/>
            <ac:spMk id="75" creationId="{61229913-5064-4B69-982E-AFABFA186C6D}"/>
          </ac:spMkLst>
        </pc:spChg>
        <pc:spChg chg="mod">
          <ac:chgData name="Müller, Kurt (SI BP S TSS TR)" userId="e7e82c7e-80c6-42a5-ab71-24588885b7fe" providerId="ADAL" clId="{9FEA2841-5B76-4EDB-8984-1B2D4375FBAF}" dt="2021-06-16T09:39:10.865" v="66" actId="1076"/>
          <ac:spMkLst>
            <pc:docMk/>
            <pc:sldMk cId="825092287" sldId="2435"/>
            <ac:spMk id="76" creationId="{DC868A65-742D-4ACC-A009-5237A983E484}"/>
          </ac:spMkLst>
        </pc:spChg>
        <pc:spChg chg="mod">
          <ac:chgData name="Müller, Kurt (SI BP S TSS TR)" userId="e7e82c7e-80c6-42a5-ab71-24588885b7fe" providerId="ADAL" clId="{9FEA2841-5B76-4EDB-8984-1B2D4375FBAF}" dt="2021-06-16T09:39:10.865" v="66" actId="1076"/>
          <ac:spMkLst>
            <pc:docMk/>
            <pc:sldMk cId="825092287" sldId="2435"/>
            <ac:spMk id="77" creationId="{E51DA930-4B48-4F38-A1BE-0845065D0A8D}"/>
          </ac:spMkLst>
        </pc:spChg>
        <pc:spChg chg="mod">
          <ac:chgData name="Müller, Kurt (SI BP S TSS TR)" userId="e7e82c7e-80c6-42a5-ab71-24588885b7fe" providerId="ADAL" clId="{9FEA2841-5B76-4EDB-8984-1B2D4375FBAF}" dt="2021-06-16T09:39:10.865" v="66" actId="1076"/>
          <ac:spMkLst>
            <pc:docMk/>
            <pc:sldMk cId="825092287" sldId="2435"/>
            <ac:spMk id="78" creationId="{9BA3AB1D-7041-4D0C-8C19-E1F6B72F5640}"/>
          </ac:spMkLst>
        </pc:spChg>
        <pc:spChg chg="mod">
          <ac:chgData name="Müller, Kurt (SI BP S TSS TR)" userId="e7e82c7e-80c6-42a5-ab71-24588885b7fe" providerId="ADAL" clId="{9FEA2841-5B76-4EDB-8984-1B2D4375FBAF}" dt="2021-06-16T09:39:10.865" v="66" actId="1076"/>
          <ac:spMkLst>
            <pc:docMk/>
            <pc:sldMk cId="825092287" sldId="2435"/>
            <ac:spMk id="79" creationId="{44259AC1-00EF-4D28-819D-E94E48A2A657}"/>
          </ac:spMkLst>
        </pc:spChg>
        <pc:spChg chg="mod">
          <ac:chgData name="Müller, Kurt (SI BP S TSS TR)" userId="e7e82c7e-80c6-42a5-ab71-24588885b7fe" providerId="ADAL" clId="{9FEA2841-5B76-4EDB-8984-1B2D4375FBAF}" dt="2021-06-16T09:39:10.865" v="66" actId="1076"/>
          <ac:spMkLst>
            <pc:docMk/>
            <pc:sldMk cId="825092287" sldId="2435"/>
            <ac:spMk id="80" creationId="{B0E4017A-7344-4738-A490-77BB0431CCE1}"/>
          </ac:spMkLst>
        </pc:spChg>
        <pc:spChg chg="mod">
          <ac:chgData name="Müller, Kurt (SI BP S TSS TR)" userId="e7e82c7e-80c6-42a5-ab71-24588885b7fe" providerId="ADAL" clId="{9FEA2841-5B76-4EDB-8984-1B2D4375FBAF}" dt="2021-06-16T09:39:10.865" v="66" actId="1076"/>
          <ac:spMkLst>
            <pc:docMk/>
            <pc:sldMk cId="825092287" sldId="2435"/>
            <ac:spMk id="81" creationId="{FC39B2CE-3EBE-4849-8181-144D0FEC7BBB}"/>
          </ac:spMkLst>
        </pc:spChg>
        <pc:spChg chg="mod">
          <ac:chgData name="Müller, Kurt (SI BP S TSS TR)" userId="e7e82c7e-80c6-42a5-ab71-24588885b7fe" providerId="ADAL" clId="{9FEA2841-5B76-4EDB-8984-1B2D4375FBAF}" dt="2021-06-16T09:39:10.865" v="66" actId="1076"/>
          <ac:spMkLst>
            <pc:docMk/>
            <pc:sldMk cId="825092287" sldId="2435"/>
            <ac:spMk id="82" creationId="{55AF9985-93BE-401B-9C42-9F766CB781E1}"/>
          </ac:spMkLst>
        </pc:spChg>
        <pc:spChg chg="mod">
          <ac:chgData name="Müller, Kurt (SI BP S TSS TR)" userId="e7e82c7e-80c6-42a5-ab71-24588885b7fe" providerId="ADAL" clId="{9FEA2841-5B76-4EDB-8984-1B2D4375FBAF}" dt="2021-06-16T09:39:10.865" v="66" actId="1076"/>
          <ac:spMkLst>
            <pc:docMk/>
            <pc:sldMk cId="825092287" sldId="2435"/>
            <ac:spMk id="83" creationId="{AAB9F4E9-8627-41DD-BB83-4BF49B93877A}"/>
          </ac:spMkLst>
        </pc:spChg>
        <pc:spChg chg="mod">
          <ac:chgData name="Müller, Kurt (SI BP S TSS TR)" userId="e7e82c7e-80c6-42a5-ab71-24588885b7fe" providerId="ADAL" clId="{9FEA2841-5B76-4EDB-8984-1B2D4375FBAF}" dt="2021-06-16T09:39:10.865" v="66" actId="1076"/>
          <ac:spMkLst>
            <pc:docMk/>
            <pc:sldMk cId="825092287" sldId="2435"/>
            <ac:spMk id="84" creationId="{5354452F-0A85-450F-A001-0750382D9C82}"/>
          </ac:spMkLst>
        </pc:spChg>
        <pc:spChg chg="mod">
          <ac:chgData name="Müller, Kurt (SI BP S TSS TR)" userId="e7e82c7e-80c6-42a5-ab71-24588885b7fe" providerId="ADAL" clId="{9FEA2841-5B76-4EDB-8984-1B2D4375FBAF}" dt="2021-06-16T09:39:10.865" v="66" actId="1076"/>
          <ac:spMkLst>
            <pc:docMk/>
            <pc:sldMk cId="825092287" sldId="2435"/>
            <ac:spMk id="85" creationId="{8C99A73B-B557-4173-8950-CDC4126D5700}"/>
          </ac:spMkLst>
        </pc:spChg>
        <pc:spChg chg="mod">
          <ac:chgData name="Müller, Kurt (SI BP S TSS TR)" userId="e7e82c7e-80c6-42a5-ab71-24588885b7fe" providerId="ADAL" clId="{9FEA2841-5B76-4EDB-8984-1B2D4375FBAF}" dt="2021-06-16T09:39:10.865" v="66" actId="1076"/>
          <ac:spMkLst>
            <pc:docMk/>
            <pc:sldMk cId="825092287" sldId="2435"/>
            <ac:spMk id="86" creationId="{6C59E23E-08B6-498C-894B-A411A65BE90B}"/>
          </ac:spMkLst>
        </pc:spChg>
        <pc:spChg chg="mod">
          <ac:chgData name="Müller, Kurt (SI BP S TSS TR)" userId="e7e82c7e-80c6-42a5-ab71-24588885b7fe" providerId="ADAL" clId="{9FEA2841-5B76-4EDB-8984-1B2D4375FBAF}" dt="2021-06-16T09:39:10.865" v="66" actId="1076"/>
          <ac:spMkLst>
            <pc:docMk/>
            <pc:sldMk cId="825092287" sldId="2435"/>
            <ac:spMk id="87" creationId="{597DD3DA-11EB-405F-9A43-60B36F5A7951}"/>
          </ac:spMkLst>
        </pc:spChg>
        <pc:spChg chg="mod">
          <ac:chgData name="Müller, Kurt (SI BP S TSS TR)" userId="e7e82c7e-80c6-42a5-ab71-24588885b7fe" providerId="ADAL" clId="{9FEA2841-5B76-4EDB-8984-1B2D4375FBAF}" dt="2021-06-16T09:39:10.865" v="66" actId="1076"/>
          <ac:spMkLst>
            <pc:docMk/>
            <pc:sldMk cId="825092287" sldId="2435"/>
            <ac:spMk id="88" creationId="{FAF3372C-B185-4D14-B888-A7450C0B989D}"/>
          </ac:spMkLst>
        </pc:spChg>
        <pc:spChg chg="mod">
          <ac:chgData name="Müller, Kurt (SI BP S TSS TR)" userId="e7e82c7e-80c6-42a5-ab71-24588885b7fe" providerId="ADAL" clId="{9FEA2841-5B76-4EDB-8984-1B2D4375FBAF}" dt="2021-06-16T09:39:10.865" v="66" actId="1076"/>
          <ac:spMkLst>
            <pc:docMk/>
            <pc:sldMk cId="825092287" sldId="2435"/>
            <ac:spMk id="89" creationId="{2CAFA844-8F0B-4C23-8764-ACBC1B737F5B}"/>
          </ac:spMkLst>
        </pc:spChg>
        <pc:spChg chg="mod">
          <ac:chgData name="Müller, Kurt (SI BP S TSS TR)" userId="e7e82c7e-80c6-42a5-ab71-24588885b7fe" providerId="ADAL" clId="{9FEA2841-5B76-4EDB-8984-1B2D4375FBAF}" dt="2021-06-16T09:38:52.529" v="61"/>
          <ac:spMkLst>
            <pc:docMk/>
            <pc:sldMk cId="825092287" sldId="2435"/>
            <ac:spMk id="93" creationId="{072FC187-7B7F-41B2-B536-898EB9E2ABFC}"/>
          </ac:spMkLst>
        </pc:spChg>
        <pc:spChg chg="mod">
          <ac:chgData name="Müller, Kurt (SI BP S TSS TR)" userId="e7e82c7e-80c6-42a5-ab71-24588885b7fe" providerId="ADAL" clId="{9FEA2841-5B76-4EDB-8984-1B2D4375FBAF}" dt="2021-06-16T09:47:04.289" v="189" actId="6549"/>
          <ac:spMkLst>
            <pc:docMk/>
            <pc:sldMk cId="825092287" sldId="2435"/>
            <ac:spMk id="95" creationId="{2F044C33-236B-427C-9A6F-152A0CECE1C1}"/>
          </ac:spMkLst>
        </pc:spChg>
        <pc:spChg chg="add mod">
          <ac:chgData name="Müller, Kurt (SI BP S TSS TR)" userId="e7e82c7e-80c6-42a5-ab71-24588885b7fe" providerId="ADAL" clId="{9FEA2841-5B76-4EDB-8984-1B2D4375FBAF}" dt="2021-06-16T09:40:31.208" v="105" actId="1076"/>
          <ac:spMkLst>
            <pc:docMk/>
            <pc:sldMk cId="825092287" sldId="2435"/>
            <ac:spMk id="96" creationId="{F12BCE1F-1457-42ED-98F8-86D6DFE9ADE2}"/>
          </ac:spMkLst>
        </pc:spChg>
        <pc:spChg chg="add mod">
          <ac:chgData name="Müller, Kurt (SI BP S TSS TR)" userId="e7e82c7e-80c6-42a5-ab71-24588885b7fe" providerId="ADAL" clId="{9FEA2841-5B76-4EDB-8984-1B2D4375FBAF}" dt="2021-06-16T09:40:42.839" v="109" actId="14100"/>
          <ac:spMkLst>
            <pc:docMk/>
            <pc:sldMk cId="825092287" sldId="2435"/>
            <ac:spMk id="97" creationId="{25EAE0CF-706C-4357-9873-7204BA481270}"/>
          </ac:spMkLst>
        </pc:spChg>
        <pc:spChg chg="add mod">
          <ac:chgData name="Müller, Kurt (SI BP S TSS TR)" userId="e7e82c7e-80c6-42a5-ab71-24588885b7fe" providerId="ADAL" clId="{9FEA2841-5B76-4EDB-8984-1B2D4375FBAF}" dt="2021-06-16T09:40:48.117" v="111" actId="20577"/>
          <ac:spMkLst>
            <pc:docMk/>
            <pc:sldMk cId="825092287" sldId="2435"/>
            <ac:spMk id="98" creationId="{CB818DE0-7641-425C-9422-038EFF84FF0F}"/>
          </ac:spMkLst>
        </pc:spChg>
        <pc:spChg chg="add mod">
          <ac:chgData name="Müller, Kurt (SI BP S TSS TR)" userId="e7e82c7e-80c6-42a5-ab71-24588885b7fe" providerId="ADAL" clId="{9FEA2841-5B76-4EDB-8984-1B2D4375FBAF}" dt="2021-06-16T09:41:35.416" v="132" actId="14100"/>
          <ac:spMkLst>
            <pc:docMk/>
            <pc:sldMk cId="825092287" sldId="2435"/>
            <ac:spMk id="99" creationId="{F1DB17FB-ED9A-4E31-860A-FFFDC62D05BE}"/>
          </ac:spMkLst>
        </pc:spChg>
        <pc:spChg chg="add mod">
          <ac:chgData name="Müller, Kurt (SI BP S TSS TR)" userId="e7e82c7e-80c6-42a5-ab71-24588885b7fe" providerId="ADAL" clId="{9FEA2841-5B76-4EDB-8984-1B2D4375FBAF}" dt="2021-06-16T09:42:42.526" v="153" actId="1076"/>
          <ac:spMkLst>
            <pc:docMk/>
            <pc:sldMk cId="825092287" sldId="2435"/>
            <ac:spMk id="100" creationId="{8531B8C8-17D7-4495-97F5-98CC15A1BFF6}"/>
          </ac:spMkLst>
        </pc:spChg>
        <pc:spChg chg="add mod">
          <ac:chgData name="Müller, Kurt (SI BP S TSS TR)" userId="e7e82c7e-80c6-42a5-ab71-24588885b7fe" providerId="ADAL" clId="{9FEA2841-5B76-4EDB-8984-1B2D4375FBAF}" dt="2021-06-16T09:50:35.406" v="207" actId="1076"/>
          <ac:spMkLst>
            <pc:docMk/>
            <pc:sldMk cId="825092287" sldId="2435"/>
            <ac:spMk id="103" creationId="{5A5EB6AC-2702-4F3F-A112-F9DC13E40FF7}"/>
          </ac:spMkLst>
        </pc:spChg>
        <pc:spChg chg="add mod">
          <ac:chgData name="Müller, Kurt (SI BP S TSS TR)" userId="e7e82c7e-80c6-42a5-ab71-24588885b7fe" providerId="ADAL" clId="{9FEA2841-5B76-4EDB-8984-1B2D4375FBAF}" dt="2021-06-16T09:50:31.373" v="206" actId="1076"/>
          <ac:spMkLst>
            <pc:docMk/>
            <pc:sldMk cId="825092287" sldId="2435"/>
            <ac:spMk id="104" creationId="{C5341DC1-004C-495C-A115-967C2D38FA01}"/>
          </ac:spMkLst>
        </pc:spChg>
        <pc:spChg chg="add mod">
          <ac:chgData name="Müller, Kurt (SI BP S TSS TR)" userId="e7e82c7e-80c6-42a5-ab71-24588885b7fe" providerId="ADAL" clId="{9FEA2841-5B76-4EDB-8984-1B2D4375FBAF}" dt="2021-06-16T09:51:08.927" v="214" actId="14100"/>
          <ac:spMkLst>
            <pc:docMk/>
            <pc:sldMk cId="825092287" sldId="2435"/>
            <ac:spMk id="105" creationId="{FFC685EB-720F-438F-887F-9E61A3C0A6B5}"/>
          </ac:spMkLst>
        </pc:spChg>
        <pc:spChg chg="add mod">
          <ac:chgData name="Müller, Kurt (SI BP S TSS TR)" userId="e7e82c7e-80c6-42a5-ab71-24588885b7fe" providerId="ADAL" clId="{9FEA2841-5B76-4EDB-8984-1B2D4375FBAF}" dt="2021-06-16T09:52:30.198" v="222" actId="1076"/>
          <ac:spMkLst>
            <pc:docMk/>
            <pc:sldMk cId="825092287" sldId="2435"/>
            <ac:spMk id="106" creationId="{BE9EF91C-9717-4376-BCCE-5304673B51D7}"/>
          </ac:spMkLst>
        </pc:spChg>
        <pc:spChg chg="add mod">
          <ac:chgData name="Müller, Kurt (SI BP S TSS TR)" userId="e7e82c7e-80c6-42a5-ab71-24588885b7fe" providerId="ADAL" clId="{9FEA2841-5B76-4EDB-8984-1B2D4375FBAF}" dt="2021-06-16T09:52:33.918" v="223" actId="1076"/>
          <ac:spMkLst>
            <pc:docMk/>
            <pc:sldMk cId="825092287" sldId="2435"/>
            <ac:spMk id="107" creationId="{2E71DFDD-8811-4399-8ABB-2BC31E3B10D5}"/>
          </ac:spMkLst>
        </pc:spChg>
        <pc:spChg chg="add mod">
          <ac:chgData name="Müller, Kurt (SI BP S TSS TR)" userId="e7e82c7e-80c6-42a5-ab71-24588885b7fe" providerId="ADAL" clId="{9FEA2841-5B76-4EDB-8984-1B2D4375FBAF}" dt="2021-06-16T09:51:43.514" v="217" actId="20577"/>
          <ac:spMkLst>
            <pc:docMk/>
            <pc:sldMk cId="825092287" sldId="2435"/>
            <ac:spMk id="108" creationId="{F9EB72F0-377B-494A-A025-7393211321DF}"/>
          </ac:spMkLst>
        </pc:spChg>
        <pc:spChg chg="add mod">
          <ac:chgData name="Müller, Kurt (SI BP S TSS TR)" userId="e7e82c7e-80c6-42a5-ab71-24588885b7fe" providerId="ADAL" clId="{9FEA2841-5B76-4EDB-8984-1B2D4375FBAF}" dt="2021-06-16T09:52:11.514" v="220" actId="20577"/>
          <ac:spMkLst>
            <pc:docMk/>
            <pc:sldMk cId="825092287" sldId="2435"/>
            <ac:spMk id="109" creationId="{18B4D7AD-0A42-4711-BFC3-A794A720B2C0}"/>
          </ac:spMkLst>
        </pc:spChg>
        <pc:spChg chg="add mod">
          <ac:chgData name="Müller, Kurt (SI BP S TSS TR)" userId="e7e82c7e-80c6-42a5-ab71-24588885b7fe" providerId="ADAL" clId="{9FEA2841-5B76-4EDB-8984-1B2D4375FBAF}" dt="2021-06-16T09:52:16.563" v="221" actId="20577"/>
          <ac:spMkLst>
            <pc:docMk/>
            <pc:sldMk cId="825092287" sldId="2435"/>
            <ac:spMk id="110" creationId="{DB53748D-AFF3-4AEF-80A1-F1DD0CA4DBED}"/>
          </ac:spMkLst>
        </pc:spChg>
        <pc:grpChg chg="mod">
          <ac:chgData name="Müller, Kurt (SI BP S TSS TR)" userId="e7e82c7e-80c6-42a5-ab71-24588885b7fe" providerId="ADAL" clId="{9FEA2841-5B76-4EDB-8984-1B2D4375FBAF}" dt="2021-06-16T09:39:10.865" v="66" actId="1076"/>
          <ac:grpSpMkLst>
            <pc:docMk/>
            <pc:sldMk cId="825092287" sldId="2435"/>
            <ac:grpSpMk id="21" creationId="{09BAFB46-7A25-497A-AF7B-0F1F8C31618D}"/>
          </ac:grpSpMkLst>
        </pc:grpChg>
        <pc:grpChg chg="add mod">
          <ac:chgData name="Müller, Kurt (SI BP S TSS TR)" userId="e7e82c7e-80c6-42a5-ab71-24588885b7fe" providerId="ADAL" clId="{9FEA2841-5B76-4EDB-8984-1B2D4375FBAF}" dt="2021-06-16T09:40:01.423" v="90" actId="1076"/>
          <ac:grpSpMkLst>
            <pc:docMk/>
            <pc:sldMk cId="825092287" sldId="2435"/>
            <ac:grpSpMk id="91" creationId="{F990C496-31AA-4B5E-AA9C-02C581AC36F2}"/>
          </ac:grpSpMkLst>
        </pc:grpChg>
        <pc:picChg chg="mod">
          <ac:chgData name="Müller, Kurt (SI BP S TSS TR)" userId="e7e82c7e-80c6-42a5-ab71-24588885b7fe" providerId="ADAL" clId="{9FEA2841-5B76-4EDB-8984-1B2D4375FBAF}" dt="2021-06-16T09:38:52.529" v="61"/>
          <ac:picMkLst>
            <pc:docMk/>
            <pc:sldMk cId="825092287" sldId="2435"/>
            <ac:picMk id="92" creationId="{2BBC2A00-CBF0-4B17-BCE9-5ECCE7CD1483}"/>
          </ac:picMkLst>
        </pc:picChg>
        <pc:picChg chg="del mod">
          <ac:chgData name="Müller, Kurt (SI BP S TSS TR)" userId="e7e82c7e-80c6-42a5-ab71-24588885b7fe" providerId="ADAL" clId="{9FEA2841-5B76-4EDB-8984-1B2D4375FBAF}" dt="2021-06-16T09:38:56.167" v="63" actId="478"/>
          <ac:picMkLst>
            <pc:docMk/>
            <pc:sldMk cId="825092287" sldId="2435"/>
            <ac:picMk id="94" creationId="{68D457EF-7252-48E1-B42B-2D7DB2EDDA1F}"/>
          </ac:picMkLst>
        </pc:picChg>
        <pc:picChg chg="add mod">
          <ac:chgData name="Müller, Kurt (SI BP S TSS TR)" userId="e7e82c7e-80c6-42a5-ab71-24588885b7fe" providerId="ADAL" clId="{9FEA2841-5B76-4EDB-8984-1B2D4375FBAF}" dt="2021-06-16T09:43:46.662" v="161" actId="1076"/>
          <ac:picMkLst>
            <pc:docMk/>
            <pc:sldMk cId="825092287" sldId="2435"/>
            <ac:picMk id="101" creationId="{DD5C8D74-1175-4A05-8FE9-CD51CDB74D23}"/>
          </ac:picMkLst>
        </pc:picChg>
        <pc:picChg chg="add mod">
          <ac:chgData name="Müller, Kurt (SI BP S TSS TR)" userId="e7e82c7e-80c6-42a5-ab71-24588885b7fe" providerId="ADAL" clId="{9FEA2841-5B76-4EDB-8984-1B2D4375FBAF}" dt="2021-06-17T13:25:57.058" v="310" actId="1076"/>
          <ac:picMkLst>
            <pc:docMk/>
            <pc:sldMk cId="825092287" sldId="2435"/>
            <ac:picMk id="102" creationId="{915F1B6D-EAA5-4C7A-93ED-85001264928A}"/>
          </ac:picMkLst>
        </pc:picChg>
        <pc:cxnChg chg="mod">
          <ac:chgData name="Müller, Kurt (SI BP S TSS TR)" userId="e7e82c7e-80c6-42a5-ab71-24588885b7fe" providerId="ADAL" clId="{9FEA2841-5B76-4EDB-8984-1B2D4375FBAF}" dt="2021-06-16T09:39:10.865" v="66" actId="1076"/>
          <ac:cxnSpMkLst>
            <pc:docMk/>
            <pc:sldMk cId="825092287" sldId="2435"/>
            <ac:cxnSpMk id="24" creationId="{9CD228B5-1780-4E78-B298-779EAF85AA96}"/>
          </ac:cxnSpMkLst>
        </pc:cxnChg>
        <pc:cxnChg chg="mod">
          <ac:chgData name="Müller, Kurt (SI BP S TSS TR)" userId="e7e82c7e-80c6-42a5-ab71-24588885b7fe" providerId="ADAL" clId="{9FEA2841-5B76-4EDB-8984-1B2D4375FBAF}" dt="2021-06-16T09:39:10.865" v="66" actId="1076"/>
          <ac:cxnSpMkLst>
            <pc:docMk/>
            <pc:sldMk cId="825092287" sldId="2435"/>
            <ac:cxnSpMk id="25" creationId="{BB567DEB-D07A-4E4B-A6F0-26072E11FBBD}"/>
          </ac:cxnSpMkLst>
        </pc:cxnChg>
        <pc:cxnChg chg="mod">
          <ac:chgData name="Müller, Kurt (SI BP S TSS TR)" userId="e7e82c7e-80c6-42a5-ab71-24588885b7fe" providerId="ADAL" clId="{9FEA2841-5B76-4EDB-8984-1B2D4375FBAF}" dt="2021-06-16T09:39:10.865" v="66" actId="1076"/>
          <ac:cxnSpMkLst>
            <pc:docMk/>
            <pc:sldMk cId="825092287" sldId="2435"/>
            <ac:cxnSpMk id="32" creationId="{674D85D5-427C-4CC6-9027-2C784B38BB37}"/>
          </ac:cxnSpMkLst>
        </pc:cxnChg>
        <pc:cxnChg chg="mod">
          <ac:chgData name="Müller, Kurt (SI BP S TSS TR)" userId="e7e82c7e-80c6-42a5-ab71-24588885b7fe" providerId="ADAL" clId="{9FEA2841-5B76-4EDB-8984-1B2D4375FBAF}" dt="2021-06-16T09:39:10.865" v="66" actId="1076"/>
          <ac:cxnSpMkLst>
            <pc:docMk/>
            <pc:sldMk cId="825092287" sldId="2435"/>
            <ac:cxnSpMk id="33" creationId="{B43DF3BE-5082-4317-8D87-A2C61708298F}"/>
          </ac:cxnSpMkLst>
        </pc:cxnChg>
      </pc:sldChg>
      <pc:sldChg chg="addSp delSp modSp mod">
        <pc:chgData name="Müller, Kurt (SI BP S TSS TR)" userId="e7e82c7e-80c6-42a5-ab71-24588885b7fe" providerId="ADAL" clId="{9FEA2841-5B76-4EDB-8984-1B2D4375FBAF}" dt="2021-07-21T09:08:05.057" v="916" actId="478"/>
        <pc:sldMkLst>
          <pc:docMk/>
          <pc:sldMk cId="2020720954" sldId="2437"/>
        </pc:sldMkLst>
        <pc:spChg chg="add mod">
          <ac:chgData name="Müller, Kurt (SI BP S TSS TR)" userId="e7e82c7e-80c6-42a5-ab71-24588885b7fe" providerId="ADAL" clId="{9FEA2841-5B76-4EDB-8984-1B2D4375FBAF}" dt="2021-07-21T09:08:00.519" v="915" actId="20577"/>
          <ac:spMkLst>
            <pc:docMk/>
            <pc:sldMk cId="2020720954" sldId="2437"/>
            <ac:spMk id="16" creationId="{E99D9279-6E3B-4CCF-9810-F267BC6D8C7B}"/>
          </ac:spMkLst>
        </pc:spChg>
        <pc:spChg chg="del">
          <ac:chgData name="Müller, Kurt (SI BP S TSS TR)" userId="e7e82c7e-80c6-42a5-ab71-24588885b7fe" providerId="ADAL" clId="{9FEA2841-5B76-4EDB-8984-1B2D4375FBAF}" dt="2021-07-21T09:08:05.057" v="916" actId="478"/>
          <ac:spMkLst>
            <pc:docMk/>
            <pc:sldMk cId="2020720954" sldId="2437"/>
            <ac:spMk id="38" creationId="{16083AAE-CCD7-4756-ADFD-945DD00CA540}"/>
          </ac:spMkLst>
        </pc:spChg>
      </pc:sldChg>
      <pc:sldChg chg="ord">
        <pc:chgData name="Müller, Kurt (SI BP S TSS TR)" userId="e7e82c7e-80c6-42a5-ab71-24588885b7fe" providerId="ADAL" clId="{9FEA2841-5B76-4EDB-8984-1B2D4375FBAF}" dt="2021-07-21T09:11:07.977" v="920"/>
        <pc:sldMkLst>
          <pc:docMk/>
          <pc:sldMk cId="3980052550" sldId="2463"/>
        </pc:sldMkLst>
      </pc:sldChg>
      <pc:sldChg chg="ord">
        <pc:chgData name="Müller, Kurt (SI BP S TSS TR)" userId="e7e82c7e-80c6-42a5-ab71-24588885b7fe" providerId="ADAL" clId="{9FEA2841-5B76-4EDB-8984-1B2D4375FBAF}" dt="2021-06-21T14:20:05.426" v="373" actId="20578"/>
        <pc:sldMkLst>
          <pc:docMk/>
          <pc:sldMk cId="1295286918" sldId="2572"/>
        </pc:sldMkLst>
      </pc:sldChg>
      <pc:sldChg chg="add">
        <pc:chgData name="Müller, Kurt (SI BP S TSS TR)" userId="e7e82c7e-80c6-42a5-ab71-24588885b7fe" providerId="ADAL" clId="{9FEA2841-5B76-4EDB-8984-1B2D4375FBAF}" dt="2021-07-21T09:08:24.767" v="918"/>
        <pc:sldMkLst>
          <pc:docMk/>
          <pc:sldMk cId="710196458" sldId="2573"/>
        </pc:sldMkLst>
      </pc:sldChg>
      <pc:sldChg chg="add del">
        <pc:chgData name="Müller, Kurt (SI BP S TSS TR)" userId="e7e82c7e-80c6-42a5-ab71-24588885b7fe" providerId="ADAL" clId="{9FEA2841-5B76-4EDB-8984-1B2D4375FBAF}" dt="2021-07-21T09:08:21.302" v="917" actId="2696"/>
        <pc:sldMkLst>
          <pc:docMk/>
          <pc:sldMk cId="2117554263" sldId="2573"/>
        </pc:sldMkLst>
      </pc:sldChg>
      <pc:sldChg chg="addSp delSp modSp add del mod">
        <pc:chgData name="Müller, Kurt (SI BP S TSS TR)" userId="e7e82c7e-80c6-42a5-ab71-24588885b7fe" providerId="ADAL" clId="{9FEA2841-5B76-4EDB-8984-1B2D4375FBAF}" dt="2021-06-22T08:58:37.971" v="720" actId="47"/>
        <pc:sldMkLst>
          <pc:docMk/>
          <pc:sldMk cId="3685697049" sldId="2574"/>
        </pc:sldMkLst>
        <pc:spChg chg="del">
          <ac:chgData name="Müller, Kurt (SI BP S TSS TR)" userId="e7e82c7e-80c6-42a5-ab71-24588885b7fe" providerId="ADAL" clId="{9FEA2841-5B76-4EDB-8984-1B2D4375FBAF}" dt="2021-06-16T13:41:59.471" v="299" actId="478"/>
          <ac:spMkLst>
            <pc:docMk/>
            <pc:sldMk cId="3685697049" sldId="2574"/>
            <ac:spMk id="3" creationId="{AFAE7150-A105-4283-B6C3-5A51A3BD5720}"/>
          </ac:spMkLst>
        </pc:spChg>
        <pc:spChg chg="mod">
          <ac:chgData name="Müller, Kurt (SI BP S TSS TR)" userId="e7e82c7e-80c6-42a5-ab71-24588885b7fe" providerId="ADAL" clId="{9FEA2841-5B76-4EDB-8984-1B2D4375FBAF}" dt="2021-06-17T16:01:20.396" v="322" actId="1076"/>
          <ac:spMkLst>
            <pc:docMk/>
            <pc:sldMk cId="3685697049" sldId="2574"/>
            <ac:spMk id="10" creationId="{442CA2B5-5262-4584-A8D3-33AE45A80ED1}"/>
          </ac:spMkLst>
        </pc:spChg>
        <pc:spChg chg="add mod">
          <ac:chgData name="Müller, Kurt (SI BP S TSS TR)" userId="e7e82c7e-80c6-42a5-ab71-24588885b7fe" providerId="ADAL" clId="{9FEA2841-5B76-4EDB-8984-1B2D4375FBAF}" dt="2021-06-17T16:01:25.227" v="323" actId="1076"/>
          <ac:spMkLst>
            <pc:docMk/>
            <pc:sldMk cId="3685697049" sldId="2574"/>
            <ac:spMk id="16" creationId="{8B747166-E0AB-4F6F-9896-E8FB9713F18D}"/>
          </ac:spMkLst>
        </pc:spChg>
        <pc:grpChg chg="del">
          <ac:chgData name="Müller, Kurt (SI BP S TSS TR)" userId="e7e82c7e-80c6-42a5-ab71-24588885b7fe" providerId="ADAL" clId="{9FEA2841-5B76-4EDB-8984-1B2D4375FBAF}" dt="2021-06-16T13:41:57.247" v="298" actId="478"/>
          <ac:grpSpMkLst>
            <pc:docMk/>
            <pc:sldMk cId="3685697049" sldId="2574"/>
            <ac:grpSpMk id="4" creationId="{E351C22B-8A04-476B-A645-B6AA3B1562A2}"/>
          </ac:grpSpMkLst>
        </pc:grpChg>
        <pc:grpChg chg="del">
          <ac:chgData name="Müller, Kurt (SI BP S TSS TR)" userId="e7e82c7e-80c6-42a5-ab71-24588885b7fe" providerId="ADAL" clId="{9FEA2841-5B76-4EDB-8984-1B2D4375FBAF}" dt="2021-06-16T13:42:09.257" v="302" actId="478"/>
          <ac:grpSpMkLst>
            <pc:docMk/>
            <pc:sldMk cId="3685697049" sldId="2574"/>
            <ac:grpSpMk id="8" creationId="{32BB6083-29B0-4D20-BE91-427A1D91E6D6}"/>
          </ac:grpSpMkLst>
        </pc:grpChg>
        <pc:grpChg chg="del">
          <ac:chgData name="Müller, Kurt (SI BP S TSS TR)" userId="e7e82c7e-80c6-42a5-ab71-24588885b7fe" providerId="ADAL" clId="{9FEA2841-5B76-4EDB-8984-1B2D4375FBAF}" dt="2021-06-16T13:42:10.280" v="303" actId="478"/>
          <ac:grpSpMkLst>
            <pc:docMk/>
            <pc:sldMk cId="3685697049" sldId="2574"/>
            <ac:grpSpMk id="21" creationId="{F87C0937-C7B6-437C-B4E4-6733F094EE98}"/>
          </ac:grpSpMkLst>
        </pc:grpChg>
        <pc:picChg chg="add del mod">
          <ac:chgData name="Müller, Kurt (SI BP S TSS TR)" userId="e7e82c7e-80c6-42a5-ab71-24588885b7fe" providerId="ADAL" clId="{9FEA2841-5B76-4EDB-8984-1B2D4375FBAF}" dt="2021-06-22T08:50:24.266" v="605" actId="478"/>
          <ac:picMkLst>
            <pc:docMk/>
            <pc:sldMk cId="3685697049" sldId="2574"/>
            <ac:picMk id="6" creationId="{916FE53E-2B5C-4D35-BC61-1C09B314FB64}"/>
          </ac:picMkLst>
        </pc:picChg>
        <pc:picChg chg="add mod">
          <ac:chgData name="Müller, Kurt (SI BP S TSS TR)" userId="e7e82c7e-80c6-42a5-ab71-24588885b7fe" providerId="ADAL" clId="{9FEA2841-5B76-4EDB-8984-1B2D4375FBAF}" dt="2021-06-21T13:23:48.912" v="329" actId="1076"/>
          <ac:picMkLst>
            <pc:docMk/>
            <pc:sldMk cId="3685697049" sldId="2574"/>
            <ac:picMk id="12" creationId="{641CF423-A909-4037-861B-5470B5AE2FB1}"/>
          </ac:picMkLst>
        </pc:picChg>
        <pc:picChg chg="mod">
          <ac:chgData name="Müller, Kurt (SI BP S TSS TR)" userId="e7e82c7e-80c6-42a5-ab71-24588885b7fe" providerId="ADAL" clId="{9FEA2841-5B76-4EDB-8984-1B2D4375FBAF}" dt="2021-06-17T16:01:18.596" v="321" actId="1076"/>
          <ac:picMkLst>
            <pc:docMk/>
            <pc:sldMk cId="3685697049" sldId="2574"/>
            <ac:picMk id="44" creationId="{C1F50641-BB71-452D-9467-7F7CB44455BE}"/>
          </ac:picMkLst>
        </pc:picChg>
      </pc:sldChg>
      <pc:sldChg chg="modSp add mod">
        <pc:chgData name="Müller, Kurt (SI BP S TSS TR)" userId="e7e82c7e-80c6-42a5-ab71-24588885b7fe" providerId="ADAL" clId="{9FEA2841-5B76-4EDB-8984-1B2D4375FBAF}" dt="2021-06-21T14:20:09.737" v="375" actId="20577"/>
        <pc:sldMkLst>
          <pc:docMk/>
          <pc:sldMk cId="740471923" sldId="2575"/>
        </pc:sldMkLst>
        <pc:spChg chg="mod">
          <ac:chgData name="Müller, Kurt (SI BP S TSS TR)" userId="e7e82c7e-80c6-42a5-ab71-24588885b7fe" providerId="ADAL" clId="{9FEA2841-5B76-4EDB-8984-1B2D4375FBAF}" dt="2021-06-21T14:20:09.737" v="375" actId="20577"/>
          <ac:spMkLst>
            <pc:docMk/>
            <pc:sldMk cId="740471923" sldId="2575"/>
            <ac:spMk id="4" creationId="{00000000-0000-0000-0000-000000000000}"/>
          </ac:spMkLst>
        </pc:spChg>
      </pc:sldChg>
      <pc:sldChg chg="addSp delSp modSp add mod modAnim addCm delCm">
        <pc:chgData name="Müller, Kurt (SI BP S TSS TR)" userId="e7e82c7e-80c6-42a5-ab71-24588885b7fe" providerId="ADAL" clId="{9FEA2841-5B76-4EDB-8984-1B2D4375FBAF}" dt="2021-07-21T09:07:02.757" v="885" actId="1076"/>
        <pc:sldMkLst>
          <pc:docMk/>
          <pc:sldMk cId="218520005" sldId="2576"/>
        </pc:sldMkLst>
        <pc:spChg chg="add del mod">
          <ac:chgData name="Müller, Kurt (SI BP S TSS TR)" userId="e7e82c7e-80c6-42a5-ab71-24588885b7fe" providerId="ADAL" clId="{9FEA2841-5B76-4EDB-8984-1B2D4375FBAF}" dt="2021-06-22T08:50:09.742" v="600" actId="1076"/>
          <ac:spMkLst>
            <pc:docMk/>
            <pc:sldMk cId="218520005" sldId="2576"/>
            <ac:spMk id="3" creationId="{6F6B2F90-411C-4CE0-87D6-8540C7987061}"/>
          </ac:spMkLst>
        </pc:spChg>
        <pc:spChg chg="add mod">
          <ac:chgData name="Müller, Kurt (SI BP S TSS TR)" userId="e7e82c7e-80c6-42a5-ab71-24588885b7fe" providerId="ADAL" clId="{9FEA2841-5B76-4EDB-8984-1B2D4375FBAF}" dt="2021-07-21T09:07:02.757" v="885" actId="1076"/>
          <ac:spMkLst>
            <pc:docMk/>
            <pc:sldMk cId="218520005" sldId="2576"/>
            <ac:spMk id="4" creationId="{27F415B5-B89D-43C5-82FE-486FDB760CC1}"/>
          </ac:spMkLst>
        </pc:spChg>
        <pc:spChg chg="del">
          <ac:chgData name="Müller, Kurt (SI BP S TSS TR)" userId="e7e82c7e-80c6-42a5-ab71-24588885b7fe" providerId="ADAL" clId="{9FEA2841-5B76-4EDB-8984-1B2D4375FBAF}" dt="2021-06-22T06:37:51.703" v="377" actId="478"/>
          <ac:spMkLst>
            <pc:docMk/>
            <pc:sldMk cId="218520005" sldId="2576"/>
            <ac:spMk id="10" creationId="{442CA2B5-5262-4584-A8D3-33AE45A80ED1}"/>
          </ac:spMkLst>
        </pc:spChg>
        <pc:spChg chg="del">
          <ac:chgData name="Müller, Kurt (SI BP S TSS TR)" userId="e7e82c7e-80c6-42a5-ab71-24588885b7fe" providerId="ADAL" clId="{9FEA2841-5B76-4EDB-8984-1B2D4375FBAF}" dt="2021-06-22T06:37:51.703" v="377" actId="478"/>
          <ac:spMkLst>
            <pc:docMk/>
            <pc:sldMk cId="218520005" sldId="2576"/>
            <ac:spMk id="16" creationId="{8B747166-E0AB-4F6F-9896-E8FB9713F18D}"/>
          </ac:spMkLst>
        </pc:spChg>
        <pc:spChg chg="mod">
          <ac:chgData name="Müller, Kurt (SI BP S TSS TR)" userId="e7e82c7e-80c6-42a5-ab71-24588885b7fe" providerId="ADAL" clId="{9FEA2841-5B76-4EDB-8984-1B2D4375FBAF}" dt="2021-06-22T06:52:54.126" v="482" actId="1076"/>
          <ac:spMkLst>
            <pc:docMk/>
            <pc:sldMk cId="218520005" sldId="2576"/>
            <ac:spMk id="19" creationId="{F94DAD78-0498-4DDB-9E94-95CAC9AB776C}"/>
          </ac:spMkLst>
        </pc:spChg>
        <pc:spChg chg="mod">
          <ac:chgData name="Müller, Kurt (SI BP S TSS TR)" userId="e7e82c7e-80c6-42a5-ab71-24588885b7fe" providerId="ADAL" clId="{9FEA2841-5B76-4EDB-8984-1B2D4375FBAF}" dt="2021-06-22T06:52:54.126" v="482" actId="1076"/>
          <ac:spMkLst>
            <pc:docMk/>
            <pc:sldMk cId="218520005" sldId="2576"/>
            <ac:spMk id="20" creationId="{19CECCBE-D73F-45FB-8F8F-2390C7BA391C}"/>
          </ac:spMkLst>
        </pc:spChg>
        <pc:spChg chg="add del mod">
          <ac:chgData name="Müller, Kurt (SI BP S TSS TR)" userId="e7e82c7e-80c6-42a5-ab71-24588885b7fe" providerId="ADAL" clId="{9FEA2841-5B76-4EDB-8984-1B2D4375FBAF}" dt="2021-06-22T08:50:16.640" v="604" actId="478"/>
          <ac:spMkLst>
            <pc:docMk/>
            <pc:sldMk cId="218520005" sldId="2576"/>
            <ac:spMk id="21" creationId="{0C237C22-7BBD-4ECD-9D4C-9353E8D74276}"/>
          </ac:spMkLst>
        </pc:spChg>
        <pc:spChg chg="add del mod">
          <ac:chgData name="Müller, Kurt (SI BP S TSS TR)" userId="e7e82c7e-80c6-42a5-ab71-24588885b7fe" providerId="ADAL" clId="{9FEA2841-5B76-4EDB-8984-1B2D4375FBAF}" dt="2021-06-22T08:50:16.640" v="604" actId="478"/>
          <ac:spMkLst>
            <pc:docMk/>
            <pc:sldMk cId="218520005" sldId="2576"/>
            <ac:spMk id="23" creationId="{7FF17C71-5CC5-4E90-9709-FA456A9638ED}"/>
          </ac:spMkLst>
        </pc:spChg>
        <pc:spChg chg="add del mod">
          <ac:chgData name="Müller, Kurt (SI BP S TSS TR)" userId="e7e82c7e-80c6-42a5-ab71-24588885b7fe" providerId="ADAL" clId="{9FEA2841-5B76-4EDB-8984-1B2D4375FBAF}" dt="2021-06-22T08:50:16.640" v="604" actId="478"/>
          <ac:spMkLst>
            <pc:docMk/>
            <pc:sldMk cId="218520005" sldId="2576"/>
            <ac:spMk id="24" creationId="{73359EFA-171D-4657-9536-1CBB50DFED9D}"/>
          </ac:spMkLst>
        </pc:spChg>
        <pc:spChg chg="mod">
          <ac:chgData name="Müller, Kurt (SI BP S TSS TR)" userId="e7e82c7e-80c6-42a5-ab71-24588885b7fe" providerId="ADAL" clId="{9FEA2841-5B76-4EDB-8984-1B2D4375FBAF}" dt="2021-06-22T06:40:58.104" v="380"/>
          <ac:spMkLst>
            <pc:docMk/>
            <pc:sldMk cId="218520005" sldId="2576"/>
            <ac:spMk id="32" creationId="{CC713EC8-4AA6-4221-9C10-275D592D31B1}"/>
          </ac:spMkLst>
        </pc:spChg>
        <pc:spChg chg="mod">
          <ac:chgData name="Müller, Kurt (SI BP S TSS TR)" userId="e7e82c7e-80c6-42a5-ab71-24588885b7fe" providerId="ADAL" clId="{9FEA2841-5B76-4EDB-8984-1B2D4375FBAF}" dt="2021-06-22T06:40:58.104" v="380"/>
          <ac:spMkLst>
            <pc:docMk/>
            <pc:sldMk cId="218520005" sldId="2576"/>
            <ac:spMk id="33" creationId="{91147277-13AD-495E-9E8A-0C160ADAA5F0}"/>
          </ac:spMkLst>
        </pc:spChg>
        <pc:spChg chg="mod">
          <ac:chgData name="Müller, Kurt (SI BP S TSS TR)" userId="e7e82c7e-80c6-42a5-ab71-24588885b7fe" providerId="ADAL" clId="{9FEA2841-5B76-4EDB-8984-1B2D4375FBAF}" dt="2021-06-22T06:40:58.104" v="380"/>
          <ac:spMkLst>
            <pc:docMk/>
            <pc:sldMk cId="218520005" sldId="2576"/>
            <ac:spMk id="41" creationId="{FBF5C7BF-4F00-432D-94BD-BF8D75B1E820}"/>
          </ac:spMkLst>
        </pc:spChg>
        <pc:spChg chg="mod">
          <ac:chgData name="Müller, Kurt (SI BP S TSS TR)" userId="e7e82c7e-80c6-42a5-ab71-24588885b7fe" providerId="ADAL" clId="{9FEA2841-5B76-4EDB-8984-1B2D4375FBAF}" dt="2021-06-22T06:40:58.104" v="380"/>
          <ac:spMkLst>
            <pc:docMk/>
            <pc:sldMk cId="218520005" sldId="2576"/>
            <ac:spMk id="42" creationId="{85DCFCCE-33F5-4620-B6F1-E31EFD866A76}"/>
          </ac:spMkLst>
        </pc:spChg>
        <pc:spChg chg="del">
          <ac:chgData name="Müller, Kurt (SI BP S TSS TR)" userId="e7e82c7e-80c6-42a5-ab71-24588885b7fe" providerId="ADAL" clId="{9FEA2841-5B76-4EDB-8984-1B2D4375FBAF}" dt="2021-06-22T06:37:51.703" v="377" actId="478"/>
          <ac:spMkLst>
            <pc:docMk/>
            <pc:sldMk cId="218520005" sldId="2576"/>
            <ac:spMk id="45" creationId="{25D03255-4EE9-4709-9111-21F0851C4725}"/>
          </ac:spMkLst>
        </pc:spChg>
        <pc:spChg chg="del">
          <ac:chgData name="Müller, Kurt (SI BP S TSS TR)" userId="e7e82c7e-80c6-42a5-ab71-24588885b7fe" providerId="ADAL" clId="{9FEA2841-5B76-4EDB-8984-1B2D4375FBAF}" dt="2021-06-22T06:37:51.703" v="377" actId="478"/>
          <ac:spMkLst>
            <pc:docMk/>
            <pc:sldMk cId="218520005" sldId="2576"/>
            <ac:spMk id="46" creationId="{7674E7AA-81CB-4EEA-9E3E-83023D05C41D}"/>
          </ac:spMkLst>
        </pc:spChg>
        <pc:spChg chg="mod">
          <ac:chgData name="Müller, Kurt (SI BP S TSS TR)" userId="e7e82c7e-80c6-42a5-ab71-24588885b7fe" providerId="ADAL" clId="{9FEA2841-5B76-4EDB-8984-1B2D4375FBAF}" dt="2021-06-22T06:40:58.104" v="380"/>
          <ac:spMkLst>
            <pc:docMk/>
            <pc:sldMk cId="218520005" sldId="2576"/>
            <ac:spMk id="48" creationId="{6A51F011-3975-4E23-9757-BBF55EDCB91D}"/>
          </ac:spMkLst>
        </pc:spChg>
        <pc:spChg chg="del">
          <ac:chgData name="Müller, Kurt (SI BP S TSS TR)" userId="e7e82c7e-80c6-42a5-ab71-24588885b7fe" providerId="ADAL" clId="{9FEA2841-5B76-4EDB-8984-1B2D4375FBAF}" dt="2021-06-22T09:01:22.456" v="754" actId="478"/>
          <ac:spMkLst>
            <pc:docMk/>
            <pc:sldMk cId="218520005" sldId="2576"/>
            <ac:spMk id="49" creationId="{FAF19FD7-1936-43A3-8E21-34F5A3AC1EB7}"/>
          </ac:spMkLst>
        </pc:spChg>
        <pc:spChg chg="mod">
          <ac:chgData name="Müller, Kurt (SI BP S TSS TR)" userId="e7e82c7e-80c6-42a5-ab71-24588885b7fe" providerId="ADAL" clId="{9FEA2841-5B76-4EDB-8984-1B2D4375FBAF}" dt="2021-06-22T06:40:58.104" v="380"/>
          <ac:spMkLst>
            <pc:docMk/>
            <pc:sldMk cId="218520005" sldId="2576"/>
            <ac:spMk id="54" creationId="{01E1BCD5-0397-45E4-A5A9-62AAED153BD5}"/>
          </ac:spMkLst>
        </pc:spChg>
        <pc:spChg chg="mod">
          <ac:chgData name="Müller, Kurt (SI BP S TSS TR)" userId="e7e82c7e-80c6-42a5-ab71-24588885b7fe" providerId="ADAL" clId="{9FEA2841-5B76-4EDB-8984-1B2D4375FBAF}" dt="2021-06-22T06:40:58.104" v="380"/>
          <ac:spMkLst>
            <pc:docMk/>
            <pc:sldMk cId="218520005" sldId="2576"/>
            <ac:spMk id="57" creationId="{67AAE438-CAAF-4639-981E-7DC28A70FB85}"/>
          </ac:spMkLst>
        </pc:spChg>
        <pc:spChg chg="add del mod">
          <ac:chgData name="Müller, Kurt (SI BP S TSS TR)" userId="e7e82c7e-80c6-42a5-ab71-24588885b7fe" providerId="ADAL" clId="{9FEA2841-5B76-4EDB-8984-1B2D4375FBAF}" dt="2021-06-22T08:50:16.640" v="604" actId="478"/>
          <ac:spMkLst>
            <pc:docMk/>
            <pc:sldMk cId="218520005" sldId="2576"/>
            <ac:spMk id="66" creationId="{520AB4B0-D64C-4089-B2B9-C5A3C6F5FB1B}"/>
          </ac:spMkLst>
        </pc:spChg>
        <pc:spChg chg="add del mod">
          <ac:chgData name="Müller, Kurt (SI BP S TSS TR)" userId="e7e82c7e-80c6-42a5-ab71-24588885b7fe" providerId="ADAL" clId="{9FEA2841-5B76-4EDB-8984-1B2D4375FBAF}" dt="2021-06-22T08:50:16.640" v="604" actId="478"/>
          <ac:spMkLst>
            <pc:docMk/>
            <pc:sldMk cId="218520005" sldId="2576"/>
            <ac:spMk id="67" creationId="{0E95D705-3A18-4C44-AAD5-FC9A2FC9E269}"/>
          </ac:spMkLst>
        </pc:spChg>
        <pc:spChg chg="add del mod">
          <ac:chgData name="Müller, Kurt (SI BP S TSS TR)" userId="e7e82c7e-80c6-42a5-ab71-24588885b7fe" providerId="ADAL" clId="{9FEA2841-5B76-4EDB-8984-1B2D4375FBAF}" dt="2021-06-22T08:50:16.640" v="604" actId="478"/>
          <ac:spMkLst>
            <pc:docMk/>
            <pc:sldMk cId="218520005" sldId="2576"/>
            <ac:spMk id="69" creationId="{615C2C0D-29DF-4E35-A213-72BB4990E2EF}"/>
          </ac:spMkLst>
        </pc:spChg>
        <pc:spChg chg="add del mod">
          <ac:chgData name="Müller, Kurt (SI BP S TSS TR)" userId="e7e82c7e-80c6-42a5-ab71-24588885b7fe" providerId="ADAL" clId="{9FEA2841-5B76-4EDB-8984-1B2D4375FBAF}" dt="2021-06-22T08:50:16.640" v="604" actId="478"/>
          <ac:spMkLst>
            <pc:docMk/>
            <pc:sldMk cId="218520005" sldId="2576"/>
            <ac:spMk id="70" creationId="{E70DC800-0D69-4186-9F6F-AE3E163B9C4F}"/>
          </ac:spMkLst>
        </pc:spChg>
        <pc:spChg chg="mod topLvl">
          <ac:chgData name="Müller, Kurt (SI BP S TSS TR)" userId="e7e82c7e-80c6-42a5-ab71-24588885b7fe" providerId="ADAL" clId="{9FEA2841-5B76-4EDB-8984-1B2D4375FBAF}" dt="2021-06-22T07:08:39.589" v="549" actId="164"/>
          <ac:spMkLst>
            <pc:docMk/>
            <pc:sldMk cId="218520005" sldId="2576"/>
            <ac:spMk id="74" creationId="{5A712AD7-9A2D-4CCC-81CB-F65E9C8BD5B9}"/>
          </ac:spMkLst>
        </pc:spChg>
        <pc:spChg chg="mod topLvl">
          <ac:chgData name="Müller, Kurt (SI BP S TSS TR)" userId="e7e82c7e-80c6-42a5-ab71-24588885b7fe" providerId="ADAL" clId="{9FEA2841-5B76-4EDB-8984-1B2D4375FBAF}" dt="2021-06-22T07:08:39.589" v="549" actId="164"/>
          <ac:spMkLst>
            <pc:docMk/>
            <pc:sldMk cId="218520005" sldId="2576"/>
            <ac:spMk id="75" creationId="{818E069F-EC38-468A-B209-84D91E0E7A77}"/>
          </ac:spMkLst>
        </pc:spChg>
        <pc:spChg chg="mod">
          <ac:chgData name="Müller, Kurt (SI BP S TSS TR)" userId="e7e82c7e-80c6-42a5-ab71-24588885b7fe" providerId="ADAL" clId="{9FEA2841-5B76-4EDB-8984-1B2D4375FBAF}" dt="2021-06-22T07:05:13.344" v="532" actId="165"/>
          <ac:spMkLst>
            <pc:docMk/>
            <pc:sldMk cId="218520005" sldId="2576"/>
            <ac:spMk id="83" creationId="{1ABE4C6F-4419-4C25-AFB9-22242192D3DE}"/>
          </ac:spMkLst>
        </pc:spChg>
        <pc:spChg chg="del mod topLvl">
          <ac:chgData name="Müller, Kurt (SI BP S TSS TR)" userId="e7e82c7e-80c6-42a5-ab71-24588885b7fe" providerId="ADAL" clId="{9FEA2841-5B76-4EDB-8984-1B2D4375FBAF}" dt="2021-06-22T08:50:16.640" v="604" actId="478"/>
          <ac:spMkLst>
            <pc:docMk/>
            <pc:sldMk cId="218520005" sldId="2576"/>
            <ac:spMk id="84" creationId="{1CDBCFF3-347E-4430-85F5-17007ACA91CF}"/>
          </ac:spMkLst>
        </pc:spChg>
        <pc:spChg chg="del mod topLvl">
          <ac:chgData name="Müller, Kurt (SI BP S TSS TR)" userId="e7e82c7e-80c6-42a5-ab71-24588885b7fe" providerId="ADAL" clId="{9FEA2841-5B76-4EDB-8984-1B2D4375FBAF}" dt="2021-06-22T08:50:16.640" v="604" actId="478"/>
          <ac:spMkLst>
            <pc:docMk/>
            <pc:sldMk cId="218520005" sldId="2576"/>
            <ac:spMk id="86" creationId="{982AC2A1-91D9-4479-B38A-F026E52BBDF9}"/>
          </ac:spMkLst>
        </pc:spChg>
        <pc:spChg chg="add mod">
          <ac:chgData name="Müller, Kurt (SI BP S TSS TR)" userId="e7e82c7e-80c6-42a5-ab71-24588885b7fe" providerId="ADAL" clId="{9FEA2841-5B76-4EDB-8984-1B2D4375FBAF}" dt="2021-06-22T07:08:39.589" v="549" actId="164"/>
          <ac:spMkLst>
            <pc:docMk/>
            <pc:sldMk cId="218520005" sldId="2576"/>
            <ac:spMk id="88" creationId="{B1663EAE-4A95-4697-BB49-451F69B9ED59}"/>
          </ac:spMkLst>
        </pc:spChg>
        <pc:spChg chg="add del mod">
          <ac:chgData name="Müller, Kurt (SI BP S TSS TR)" userId="e7e82c7e-80c6-42a5-ab71-24588885b7fe" providerId="ADAL" clId="{9FEA2841-5B76-4EDB-8984-1B2D4375FBAF}" dt="2021-06-22T08:50:16.640" v="604" actId="478"/>
          <ac:spMkLst>
            <pc:docMk/>
            <pc:sldMk cId="218520005" sldId="2576"/>
            <ac:spMk id="89" creationId="{0B91D252-E5B9-45C4-93B5-3FAF35E883A8}"/>
          </ac:spMkLst>
        </pc:spChg>
        <pc:spChg chg="mod">
          <ac:chgData name="Müller, Kurt (SI BP S TSS TR)" userId="e7e82c7e-80c6-42a5-ab71-24588885b7fe" providerId="ADAL" clId="{9FEA2841-5B76-4EDB-8984-1B2D4375FBAF}" dt="2021-06-22T06:53:33.493" v="486" actId="165"/>
          <ac:spMkLst>
            <pc:docMk/>
            <pc:sldMk cId="218520005" sldId="2576"/>
            <ac:spMk id="94" creationId="{F559B03D-39B3-461D-B712-A9AA2ECA4BCD}"/>
          </ac:spMkLst>
        </pc:spChg>
        <pc:spChg chg="mod">
          <ac:chgData name="Müller, Kurt (SI BP S TSS TR)" userId="e7e82c7e-80c6-42a5-ab71-24588885b7fe" providerId="ADAL" clId="{9FEA2841-5B76-4EDB-8984-1B2D4375FBAF}" dt="2021-06-22T06:52:54.126" v="482" actId="1076"/>
          <ac:spMkLst>
            <pc:docMk/>
            <pc:sldMk cId="218520005" sldId="2576"/>
            <ac:spMk id="97" creationId="{AF151BBA-19F0-45A3-B4FF-5A616370B096}"/>
          </ac:spMkLst>
        </pc:spChg>
        <pc:spChg chg="mod">
          <ac:chgData name="Müller, Kurt (SI BP S TSS TR)" userId="e7e82c7e-80c6-42a5-ab71-24588885b7fe" providerId="ADAL" clId="{9FEA2841-5B76-4EDB-8984-1B2D4375FBAF}" dt="2021-06-22T06:53:33.493" v="486" actId="165"/>
          <ac:spMkLst>
            <pc:docMk/>
            <pc:sldMk cId="218520005" sldId="2576"/>
            <ac:spMk id="102" creationId="{7769C5C0-F3E7-4202-A8AB-0049551A4052}"/>
          </ac:spMkLst>
        </pc:spChg>
        <pc:spChg chg="add mod">
          <ac:chgData name="Müller, Kurt (SI BP S TSS TR)" userId="e7e82c7e-80c6-42a5-ab71-24588885b7fe" providerId="ADAL" clId="{9FEA2841-5B76-4EDB-8984-1B2D4375FBAF}" dt="2021-06-23T10:45:44.511" v="765" actId="1076"/>
          <ac:spMkLst>
            <pc:docMk/>
            <pc:sldMk cId="218520005" sldId="2576"/>
            <ac:spMk id="111" creationId="{0E4EE65A-2F9D-447F-A308-C671BDABB7CE}"/>
          </ac:spMkLst>
        </pc:spChg>
        <pc:spChg chg="add mod">
          <ac:chgData name="Müller, Kurt (SI BP S TSS TR)" userId="e7e82c7e-80c6-42a5-ab71-24588885b7fe" providerId="ADAL" clId="{9FEA2841-5B76-4EDB-8984-1B2D4375FBAF}" dt="2021-06-22T06:52:46.778" v="480" actId="1076"/>
          <ac:spMkLst>
            <pc:docMk/>
            <pc:sldMk cId="218520005" sldId="2576"/>
            <ac:spMk id="123" creationId="{D5576CBF-5970-4A1C-92A5-81B32EB5407E}"/>
          </ac:spMkLst>
        </pc:spChg>
        <pc:spChg chg="mod">
          <ac:chgData name="Müller, Kurt (SI BP S TSS TR)" userId="e7e82c7e-80c6-42a5-ab71-24588885b7fe" providerId="ADAL" clId="{9FEA2841-5B76-4EDB-8984-1B2D4375FBAF}" dt="2021-06-22T08:50:09.742" v="600" actId="1076"/>
          <ac:spMkLst>
            <pc:docMk/>
            <pc:sldMk cId="218520005" sldId="2576"/>
            <ac:spMk id="127" creationId="{97CF54C3-0D13-4284-882E-C347CD90CFE7}"/>
          </ac:spMkLst>
        </pc:spChg>
        <pc:spChg chg="add mod">
          <ac:chgData name="Müller, Kurt (SI BP S TSS TR)" userId="e7e82c7e-80c6-42a5-ab71-24588885b7fe" providerId="ADAL" clId="{9FEA2841-5B76-4EDB-8984-1B2D4375FBAF}" dt="2021-06-22T06:52:46.778" v="480" actId="1076"/>
          <ac:spMkLst>
            <pc:docMk/>
            <pc:sldMk cId="218520005" sldId="2576"/>
            <ac:spMk id="130" creationId="{A74EA87B-817C-4558-B007-45C35159C45D}"/>
          </ac:spMkLst>
        </pc:spChg>
        <pc:spChg chg="mod">
          <ac:chgData name="Müller, Kurt (SI BP S TSS TR)" userId="e7e82c7e-80c6-42a5-ab71-24588885b7fe" providerId="ADAL" clId="{9FEA2841-5B76-4EDB-8984-1B2D4375FBAF}" dt="2021-06-22T06:52:46.778" v="480" actId="1076"/>
          <ac:spMkLst>
            <pc:docMk/>
            <pc:sldMk cId="218520005" sldId="2576"/>
            <ac:spMk id="134" creationId="{3F2C583D-B396-40EE-BEF1-CDF2228BBED1}"/>
          </ac:spMkLst>
        </pc:spChg>
        <pc:spChg chg="mod">
          <ac:chgData name="Müller, Kurt (SI BP S TSS TR)" userId="e7e82c7e-80c6-42a5-ab71-24588885b7fe" providerId="ADAL" clId="{9FEA2841-5B76-4EDB-8984-1B2D4375FBAF}" dt="2021-06-22T06:52:46.778" v="480" actId="1076"/>
          <ac:spMkLst>
            <pc:docMk/>
            <pc:sldMk cId="218520005" sldId="2576"/>
            <ac:spMk id="135" creationId="{0FEAFA66-443A-4BD4-837E-E8DE4CA3BE7B}"/>
          </ac:spMkLst>
        </pc:spChg>
        <pc:spChg chg="mod">
          <ac:chgData name="Müller, Kurt (SI BP S TSS TR)" userId="e7e82c7e-80c6-42a5-ab71-24588885b7fe" providerId="ADAL" clId="{9FEA2841-5B76-4EDB-8984-1B2D4375FBAF}" dt="2021-06-22T06:55:10.205" v="518" actId="1076"/>
          <ac:spMkLst>
            <pc:docMk/>
            <pc:sldMk cId="218520005" sldId="2576"/>
            <ac:spMk id="140" creationId="{AFC1B7E0-E286-42AA-A5FD-A0E9C6AFBB9A}"/>
          </ac:spMkLst>
        </pc:spChg>
        <pc:spChg chg="add mod">
          <ac:chgData name="Müller, Kurt (SI BP S TSS TR)" userId="e7e82c7e-80c6-42a5-ab71-24588885b7fe" providerId="ADAL" clId="{9FEA2841-5B76-4EDB-8984-1B2D4375FBAF}" dt="2021-06-22T07:08:39.589" v="549" actId="164"/>
          <ac:spMkLst>
            <pc:docMk/>
            <pc:sldMk cId="218520005" sldId="2576"/>
            <ac:spMk id="151" creationId="{01D28E1E-4DAB-44D9-90DF-39CD1C6569F3}"/>
          </ac:spMkLst>
        </pc:spChg>
        <pc:spChg chg="mod">
          <ac:chgData name="Müller, Kurt (SI BP S TSS TR)" userId="e7e82c7e-80c6-42a5-ab71-24588885b7fe" providerId="ADAL" clId="{9FEA2841-5B76-4EDB-8984-1B2D4375FBAF}" dt="2021-06-22T07:09:01.666" v="553" actId="1582"/>
          <ac:spMkLst>
            <pc:docMk/>
            <pc:sldMk cId="218520005" sldId="2576"/>
            <ac:spMk id="158" creationId="{0BA6C29D-C3BB-4702-B811-9AAAE0E8F488}"/>
          </ac:spMkLst>
        </pc:spChg>
        <pc:spChg chg="mod">
          <ac:chgData name="Müller, Kurt (SI BP S TSS TR)" userId="e7e82c7e-80c6-42a5-ab71-24588885b7fe" providerId="ADAL" clId="{9FEA2841-5B76-4EDB-8984-1B2D4375FBAF}" dt="2021-06-22T08:46:55.368" v="568" actId="207"/>
          <ac:spMkLst>
            <pc:docMk/>
            <pc:sldMk cId="218520005" sldId="2576"/>
            <ac:spMk id="159" creationId="{0FC621C7-C831-4FA2-BE97-314D9B76FF6A}"/>
          </ac:spMkLst>
        </pc:spChg>
        <pc:spChg chg="mod">
          <ac:chgData name="Müller, Kurt (SI BP S TSS TR)" userId="e7e82c7e-80c6-42a5-ab71-24588885b7fe" providerId="ADAL" clId="{9FEA2841-5B76-4EDB-8984-1B2D4375FBAF}" dt="2021-06-22T07:09:01.666" v="553" actId="1582"/>
          <ac:spMkLst>
            <pc:docMk/>
            <pc:sldMk cId="218520005" sldId="2576"/>
            <ac:spMk id="160" creationId="{6AD9EDFC-C372-4F24-9623-72829DF73198}"/>
          </ac:spMkLst>
        </pc:spChg>
        <pc:spChg chg="mod">
          <ac:chgData name="Müller, Kurt (SI BP S TSS TR)" userId="e7e82c7e-80c6-42a5-ab71-24588885b7fe" providerId="ADAL" clId="{9FEA2841-5B76-4EDB-8984-1B2D4375FBAF}" dt="2021-06-22T07:09:22.724" v="556" actId="255"/>
          <ac:spMkLst>
            <pc:docMk/>
            <pc:sldMk cId="218520005" sldId="2576"/>
            <ac:spMk id="161" creationId="{F9C6EA09-B722-4847-A40A-BA665AC19822}"/>
          </ac:spMkLst>
        </pc:spChg>
        <pc:spChg chg="mod">
          <ac:chgData name="Müller, Kurt (SI BP S TSS TR)" userId="e7e82c7e-80c6-42a5-ab71-24588885b7fe" providerId="ADAL" clId="{9FEA2841-5B76-4EDB-8984-1B2D4375FBAF}" dt="2021-06-22T08:47:13.372" v="569" actId="571"/>
          <ac:spMkLst>
            <pc:docMk/>
            <pc:sldMk cId="218520005" sldId="2576"/>
            <ac:spMk id="172" creationId="{A6AD4720-B370-4785-B4B9-01D2CC00C0EE}"/>
          </ac:spMkLst>
        </pc:spChg>
        <pc:spChg chg="mod">
          <ac:chgData name="Müller, Kurt (SI BP S TSS TR)" userId="e7e82c7e-80c6-42a5-ab71-24588885b7fe" providerId="ADAL" clId="{9FEA2841-5B76-4EDB-8984-1B2D4375FBAF}" dt="2021-06-22T08:47:13.372" v="569" actId="571"/>
          <ac:spMkLst>
            <pc:docMk/>
            <pc:sldMk cId="218520005" sldId="2576"/>
            <ac:spMk id="173" creationId="{470AF321-742F-4EB8-A82E-16F20D616FFE}"/>
          </ac:spMkLst>
        </pc:spChg>
        <pc:spChg chg="mod">
          <ac:chgData name="Müller, Kurt (SI BP S TSS TR)" userId="e7e82c7e-80c6-42a5-ab71-24588885b7fe" providerId="ADAL" clId="{9FEA2841-5B76-4EDB-8984-1B2D4375FBAF}" dt="2021-06-22T08:47:13.372" v="569" actId="571"/>
          <ac:spMkLst>
            <pc:docMk/>
            <pc:sldMk cId="218520005" sldId="2576"/>
            <ac:spMk id="174" creationId="{E014E9BD-C906-4704-8239-A9CE698C4B80}"/>
          </ac:spMkLst>
        </pc:spChg>
        <pc:spChg chg="mod">
          <ac:chgData name="Müller, Kurt (SI BP S TSS TR)" userId="e7e82c7e-80c6-42a5-ab71-24588885b7fe" providerId="ADAL" clId="{9FEA2841-5B76-4EDB-8984-1B2D4375FBAF}" dt="2021-06-22T08:47:13.372" v="569" actId="571"/>
          <ac:spMkLst>
            <pc:docMk/>
            <pc:sldMk cId="218520005" sldId="2576"/>
            <ac:spMk id="175" creationId="{B8DF97D4-F548-4DFD-BEC7-48710A2A7C75}"/>
          </ac:spMkLst>
        </pc:spChg>
        <pc:spChg chg="add mod">
          <ac:chgData name="Müller, Kurt (SI BP S TSS TR)" userId="e7e82c7e-80c6-42a5-ab71-24588885b7fe" providerId="ADAL" clId="{9FEA2841-5B76-4EDB-8984-1B2D4375FBAF}" dt="2021-06-23T10:45:56.163" v="766" actId="1076"/>
          <ac:spMkLst>
            <pc:docMk/>
            <pc:sldMk cId="218520005" sldId="2576"/>
            <ac:spMk id="179" creationId="{9257C674-00E1-4E7D-8410-A171723F0F9D}"/>
          </ac:spMkLst>
        </pc:spChg>
        <pc:spChg chg="mod">
          <ac:chgData name="Müller, Kurt (SI BP S TSS TR)" userId="e7e82c7e-80c6-42a5-ab71-24588885b7fe" providerId="ADAL" clId="{9FEA2841-5B76-4EDB-8984-1B2D4375FBAF}" dt="2021-06-22T08:49:44.922" v="597" actId="688"/>
          <ac:spMkLst>
            <pc:docMk/>
            <pc:sldMk cId="218520005" sldId="2576"/>
            <ac:spMk id="182" creationId="{72828975-5CD9-469B-ADB2-56C8F55D4D45}"/>
          </ac:spMkLst>
        </pc:spChg>
        <pc:spChg chg="add mod">
          <ac:chgData name="Müller, Kurt (SI BP S TSS TR)" userId="e7e82c7e-80c6-42a5-ab71-24588885b7fe" providerId="ADAL" clId="{9FEA2841-5B76-4EDB-8984-1B2D4375FBAF}" dt="2021-06-22T08:57:38.701" v="712" actId="14100"/>
          <ac:spMkLst>
            <pc:docMk/>
            <pc:sldMk cId="218520005" sldId="2576"/>
            <ac:spMk id="187" creationId="{D961F4C1-3016-4436-A129-96F862608A4F}"/>
          </ac:spMkLst>
        </pc:spChg>
        <pc:spChg chg="add mod">
          <ac:chgData name="Müller, Kurt (SI BP S TSS TR)" userId="e7e82c7e-80c6-42a5-ab71-24588885b7fe" providerId="ADAL" clId="{9FEA2841-5B76-4EDB-8984-1B2D4375FBAF}" dt="2021-06-22T08:51:48.712" v="616"/>
          <ac:spMkLst>
            <pc:docMk/>
            <pc:sldMk cId="218520005" sldId="2576"/>
            <ac:spMk id="188" creationId="{19D17691-B562-4382-BF6D-D08CE2FD02D3}"/>
          </ac:spMkLst>
        </pc:spChg>
        <pc:spChg chg="add mod">
          <ac:chgData name="Müller, Kurt (SI BP S TSS TR)" userId="e7e82c7e-80c6-42a5-ab71-24588885b7fe" providerId="ADAL" clId="{9FEA2841-5B76-4EDB-8984-1B2D4375FBAF}" dt="2021-06-22T08:52:33.513" v="625" actId="14100"/>
          <ac:spMkLst>
            <pc:docMk/>
            <pc:sldMk cId="218520005" sldId="2576"/>
            <ac:spMk id="189" creationId="{01F2A7DE-B837-484D-A1D5-1AFB131B2A31}"/>
          </ac:spMkLst>
        </pc:spChg>
        <pc:spChg chg="add mod">
          <ac:chgData name="Müller, Kurt (SI BP S TSS TR)" userId="e7e82c7e-80c6-42a5-ab71-24588885b7fe" providerId="ADAL" clId="{9FEA2841-5B76-4EDB-8984-1B2D4375FBAF}" dt="2021-06-22T08:52:01.187" v="617" actId="1076"/>
          <ac:spMkLst>
            <pc:docMk/>
            <pc:sldMk cId="218520005" sldId="2576"/>
            <ac:spMk id="190" creationId="{20A55C80-6B6A-4E7F-9E87-E47C4DB3B489}"/>
          </ac:spMkLst>
        </pc:spChg>
        <pc:spChg chg="add mod">
          <ac:chgData name="Müller, Kurt (SI BP S TSS TR)" userId="e7e82c7e-80c6-42a5-ab71-24588885b7fe" providerId="ADAL" clId="{9FEA2841-5B76-4EDB-8984-1B2D4375FBAF}" dt="2021-06-22T08:52:30.721" v="624" actId="1076"/>
          <ac:spMkLst>
            <pc:docMk/>
            <pc:sldMk cId="218520005" sldId="2576"/>
            <ac:spMk id="191" creationId="{951DFB22-EDD9-4426-A801-B80A585E1F0B}"/>
          </ac:spMkLst>
        </pc:spChg>
        <pc:spChg chg="mod">
          <ac:chgData name="Müller, Kurt (SI BP S TSS TR)" userId="e7e82c7e-80c6-42a5-ab71-24588885b7fe" providerId="ADAL" clId="{9FEA2841-5B76-4EDB-8984-1B2D4375FBAF}" dt="2021-06-22T08:51:48.712" v="616"/>
          <ac:spMkLst>
            <pc:docMk/>
            <pc:sldMk cId="218520005" sldId="2576"/>
            <ac:spMk id="194" creationId="{011409C8-C6B8-44CE-87E1-E9BF09720D16}"/>
          </ac:spMkLst>
        </pc:spChg>
        <pc:spChg chg="mod">
          <ac:chgData name="Müller, Kurt (SI BP S TSS TR)" userId="e7e82c7e-80c6-42a5-ab71-24588885b7fe" providerId="ADAL" clId="{9FEA2841-5B76-4EDB-8984-1B2D4375FBAF}" dt="2021-06-22T08:51:48.712" v="616"/>
          <ac:spMkLst>
            <pc:docMk/>
            <pc:sldMk cId="218520005" sldId="2576"/>
            <ac:spMk id="195" creationId="{3B7DEBB0-92F0-4EA2-8AEF-0CA6862B25AB}"/>
          </ac:spMkLst>
        </pc:spChg>
        <pc:spChg chg="mod">
          <ac:chgData name="Müller, Kurt (SI BP S TSS TR)" userId="e7e82c7e-80c6-42a5-ab71-24588885b7fe" providerId="ADAL" clId="{9FEA2841-5B76-4EDB-8984-1B2D4375FBAF}" dt="2021-06-22T08:51:48.712" v="616"/>
          <ac:spMkLst>
            <pc:docMk/>
            <pc:sldMk cId="218520005" sldId="2576"/>
            <ac:spMk id="196" creationId="{E5E33FAF-FAC7-4EA6-9C12-F33735B939C5}"/>
          </ac:spMkLst>
        </pc:spChg>
        <pc:spChg chg="mod">
          <ac:chgData name="Müller, Kurt (SI BP S TSS TR)" userId="e7e82c7e-80c6-42a5-ab71-24588885b7fe" providerId="ADAL" clId="{9FEA2841-5B76-4EDB-8984-1B2D4375FBAF}" dt="2021-06-22T08:51:48.712" v="616"/>
          <ac:spMkLst>
            <pc:docMk/>
            <pc:sldMk cId="218520005" sldId="2576"/>
            <ac:spMk id="197" creationId="{64F0A7DB-4D8A-4AB1-B97E-AD12B3E66FAD}"/>
          </ac:spMkLst>
        </pc:spChg>
        <pc:spChg chg="add mod">
          <ac:chgData name="Müller, Kurt (SI BP S TSS TR)" userId="e7e82c7e-80c6-42a5-ab71-24588885b7fe" providerId="ADAL" clId="{9FEA2841-5B76-4EDB-8984-1B2D4375FBAF}" dt="2021-06-22T08:52:23.563" v="623" actId="1076"/>
          <ac:spMkLst>
            <pc:docMk/>
            <pc:sldMk cId="218520005" sldId="2576"/>
            <ac:spMk id="199" creationId="{29878D5C-7DCE-4CF4-B79E-7B4EACDB1C5A}"/>
          </ac:spMkLst>
        </pc:spChg>
        <pc:spChg chg="add mod">
          <ac:chgData name="Müller, Kurt (SI BP S TSS TR)" userId="e7e82c7e-80c6-42a5-ab71-24588885b7fe" providerId="ADAL" clId="{9FEA2841-5B76-4EDB-8984-1B2D4375FBAF}" dt="2021-06-22T08:52:23.563" v="623" actId="1076"/>
          <ac:spMkLst>
            <pc:docMk/>
            <pc:sldMk cId="218520005" sldId="2576"/>
            <ac:spMk id="200" creationId="{8DAD6EAC-1C88-40FE-80C7-1B778E1F3E93}"/>
          </ac:spMkLst>
        </pc:spChg>
        <pc:spChg chg="add mod">
          <ac:chgData name="Müller, Kurt (SI BP S TSS TR)" userId="e7e82c7e-80c6-42a5-ab71-24588885b7fe" providerId="ADAL" clId="{9FEA2841-5B76-4EDB-8984-1B2D4375FBAF}" dt="2021-06-22T08:52:23.563" v="623" actId="1076"/>
          <ac:spMkLst>
            <pc:docMk/>
            <pc:sldMk cId="218520005" sldId="2576"/>
            <ac:spMk id="201" creationId="{F22FFF72-F635-48AF-96F1-6E219E8E657B}"/>
          </ac:spMkLst>
        </pc:spChg>
        <pc:spChg chg="add mod">
          <ac:chgData name="Müller, Kurt (SI BP S TSS TR)" userId="e7e82c7e-80c6-42a5-ab71-24588885b7fe" providerId="ADAL" clId="{9FEA2841-5B76-4EDB-8984-1B2D4375FBAF}" dt="2021-06-22T08:52:23.563" v="623" actId="1076"/>
          <ac:spMkLst>
            <pc:docMk/>
            <pc:sldMk cId="218520005" sldId="2576"/>
            <ac:spMk id="202" creationId="{5BB460E6-FDE4-475B-9942-8ACA0571A2C3}"/>
          </ac:spMkLst>
        </pc:spChg>
        <pc:spChg chg="add mod">
          <ac:chgData name="Müller, Kurt (SI BP S TSS TR)" userId="e7e82c7e-80c6-42a5-ab71-24588885b7fe" providerId="ADAL" clId="{9FEA2841-5B76-4EDB-8984-1B2D4375FBAF}" dt="2021-06-22T08:52:23.563" v="623" actId="1076"/>
          <ac:spMkLst>
            <pc:docMk/>
            <pc:sldMk cId="218520005" sldId="2576"/>
            <ac:spMk id="203" creationId="{0C585F87-EE55-42B9-B97E-615745AC0EAD}"/>
          </ac:spMkLst>
        </pc:spChg>
        <pc:spChg chg="add mod">
          <ac:chgData name="Müller, Kurt (SI BP S TSS TR)" userId="e7e82c7e-80c6-42a5-ab71-24588885b7fe" providerId="ADAL" clId="{9FEA2841-5B76-4EDB-8984-1B2D4375FBAF}" dt="2021-06-22T08:52:23.563" v="623" actId="1076"/>
          <ac:spMkLst>
            <pc:docMk/>
            <pc:sldMk cId="218520005" sldId="2576"/>
            <ac:spMk id="204" creationId="{AE406BA8-FC96-4507-81F6-1946B6780B72}"/>
          </ac:spMkLst>
        </pc:spChg>
        <pc:spChg chg="add mod">
          <ac:chgData name="Müller, Kurt (SI BP S TSS TR)" userId="e7e82c7e-80c6-42a5-ab71-24588885b7fe" providerId="ADAL" clId="{9FEA2841-5B76-4EDB-8984-1B2D4375FBAF}" dt="2021-06-22T08:52:23.563" v="623" actId="1076"/>
          <ac:spMkLst>
            <pc:docMk/>
            <pc:sldMk cId="218520005" sldId="2576"/>
            <ac:spMk id="205" creationId="{4B6D80B8-416F-4C7D-98D3-68035BE794B1}"/>
          </ac:spMkLst>
        </pc:spChg>
        <pc:spChg chg="add mod">
          <ac:chgData name="Müller, Kurt (SI BP S TSS TR)" userId="e7e82c7e-80c6-42a5-ab71-24588885b7fe" providerId="ADAL" clId="{9FEA2841-5B76-4EDB-8984-1B2D4375FBAF}" dt="2021-06-22T08:52:23.563" v="623" actId="1076"/>
          <ac:spMkLst>
            <pc:docMk/>
            <pc:sldMk cId="218520005" sldId="2576"/>
            <ac:spMk id="206" creationId="{19325E5B-6F71-4AC0-9FE2-E8598FC4D1CD}"/>
          </ac:spMkLst>
        </pc:spChg>
        <pc:spChg chg="add mod">
          <ac:chgData name="Müller, Kurt (SI BP S TSS TR)" userId="e7e82c7e-80c6-42a5-ab71-24588885b7fe" providerId="ADAL" clId="{9FEA2841-5B76-4EDB-8984-1B2D4375FBAF}" dt="2021-06-22T08:52:23.563" v="623" actId="1076"/>
          <ac:spMkLst>
            <pc:docMk/>
            <pc:sldMk cId="218520005" sldId="2576"/>
            <ac:spMk id="207" creationId="{AD33A104-A813-4DCA-BC59-0D8FE261C9EA}"/>
          </ac:spMkLst>
        </pc:spChg>
        <pc:spChg chg="add mod">
          <ac:chgData name="Müller, Kurt (SI BP S TSS TR)" userId="e7e82c7e-80c6-42a5-ab71-24588885b7fe" providerId="ADAL" clId="{9FEA2841-5B76-4EDB-8984-1B2D4375FBAF}" dt="2021-06-22T08:52:23.563" v="623" actId="1076"/>
          <ac:spMkLst>
            <pc:docMk/>
            <pc:sldMk cId="218520005" sldId="2576"/>
            <ac:spMk id="208" creationId="{26B4235E-43D0-44C8-B7CB-460DF1B7F856}"/>
          </ac:spMkLst>
        </pc:spChg>
        <pc:spChg chg="add mod">
          <ac:chgData name="Müller, Kurt (SI BP S TSS TR)" userId="e7e82c7e-80c6-42a5-ab71-24588885b7fe" providerId="ADAL" clId="{9FEA2841-5B76-4EDB-8984-1B2D4375FBAF}" dt="2021-06-22T08:52:23.563" v="623" actId="1076"/>
          <ac:spMkLst>
            <pc:docMk/>
            <pc:sldMk cId="218520005" sldId="2576"/>
            <ac:spMk id="209" creationId="{EB444458-AB58-4C10-9AD0-0792011C5D4B}"/>
          </ac:spMkLst>
        </pc:spChg>
        <pc:spChg chg="add mod">
          <ac:chgData name="Müller, Kurt (SI BP S TSS TR)" userId="e7e82c7e-80c6-42a5-ab71-24588885b7fe" providerId="ADAL" clId="{9FEA2841-5B76-4EDB-8984-1B2D4375FBAF}" dt="2021-06-22T08:52:23.563" v="623" actId="1076"/>
          <ac:spMkLst>
            <pc:docMk/>
            <pc:sldMk cId="218520005" sldId="2576"/>
            <ac:spMk id="210" creationId="{00CD73E1-4B2D-420D-A181-660400CA647D}"/>
          </ac:spMkLst>
        </pc:spChg>
        <pc:spChg chg="add mod">
          <ac:chgData name="Müller, Kurt (SI BP S TSS TR)" userId="e7e82c7e-80c6-42a5-ab71-24588885b7fe" providerId="ADAL" clId="{9FEA2841-5B76-4EDB-8984-1B2D4375FBAF}" dt="2021-06-22T08:52:23.563" v="623" actId="1076"/>
          <ac:spMkLst>
            <pc:docMk/>
            <pc:sldMk cId="218520005" sldId="2576"/>
            <ac:spMk id="211" creationId="{0248C509-98AF-4B31-9032-FE798081412D}"/>
          </ac:spMkLst>
        </pc:spChg>
        <pc:spChg chg="add mod">
          <ac:chgData name="Müller, Kurt (SI BP S TSS TR)" userId="e7e82c7e-80c6-42a5-ab71-24588885b7fe" providerId="ADAL" clId="{9FEA2841-5B76-4EDB-8984-1B2D4375FBAF}" dt="2021-06-22T08:52:23.563" v="623" actId="1076"/>
          <ac:spMkLst>
            <pc:docMk/>
            <pc:sldMk cId="218520005" sldId="2576"/>
            <ac:spMk id="212" creationId="{2612FBC6-C19E-4F04-9F56-D3C7AF9DCDFD}"/>
          </ac:spMkLst>
        </pc:spChg>
        <pc:spChg chg="mod">
          <ac:chgData name="Müller, Kurt (SI BP S TSS TR)" userId="e7e82c7e-80c6-42a5-ab71-24588885b7fe" providerId="ADAL" clId="{9FEA2841-5B76-4EDB-8984-1B2D4375FBAF}" dt="2021-06-22T08:52:23.563" v="623" actId="1076"/>
          <ac:spMkLst>
            <pc:docMk/>
            <pc:sldMk cId="218520005" sldId="2576"/>
            <ac:spMk id="215" creationId="{F2D7CA08-BF1A-4A8C-9A9E-4C95D33E7B70}"/>
          </ac:spMkLst>
        </pc:spChg>
        <pc:spChg chg="mod">
          <ac:chgData name="Müller, Kurt (SI BP S TSS TR)" userId="e7e82c7e-80c6-42a5-ab71-24588885b7fe" providerId="ADAL" clId="{9FEA2841-5B76-4EDB-8984-1B2D4375FBAF}" dt="2021-06-22T08:52:23.563" v="623" actId="1076"/>
          <ac:spMkLst>
            <pc:docMk/>
            <pc:sldMk cId="218520005" sldId="2576"/>
            <ac:spMk id="216" creationId="{B26E7619-1F8B-4A6C-94FE-CF3773474CBB}"/>
          </ac:spMkLst>
        </pc:spChg>
        <pc:spChg chg="mod">
          <ac:chgData name="Müller, Kurt (SI BP S TSS TR)" userId="e7e82c7e-80c6-42a5-ab71-24588885b7fe" providerId="ADAL" clId="{9FEA2841-5B76-4EDB-8984-1B2D4375FBAF}" dt="2021-06-22T08:52:23.563" v="623" actId="1076"/>
          <ac:spMkLst>
            <pc:docMk/>
            <pc:sldMk cId="218520005" sldId="2576"/>
            <ac:spMk id="217" creationId="{C4B92DB9-DE10-450F-9E43-4D08130B9E3E}"/>
          </ac:spMkLst>
        </pc:spChg>
        <pc:spChg chg="mod">
          <ac:chgData name="Müller, Kurt (SI BP S TSS TR)" userId="e7e82c7e-80c6-42a5-ab71-24588885b7fe" providerId="ADAL" clId="{9FEA2841-5B76-4EDB-8984-1B2D4375FBAF}" dt="2021-06-22T08:52:23.563" v="623" actId="1076"/>
          <ac:spMkLst>
            <pc:docMk/>
            <pc:sldMk cId="218520005" sldId="2576"/>
            <ac:spMk id="218" creationId="{8F3EDC30-F870-4713-88E4-F933DD1D79F4}"/>
          </ac:spMkLst>
        </pc:spChg>
        <pc:spChg chg="mod">
          <ac:chgData name="Müller, Kurt (SI BP S TSS TR)" userId="e7e82c7e-80c6-42a5-ab71-24588885b7fe" providerId="ADAL" clId="{9FEA2841-5B76-4EDB-8984-1B2D4375FBAF}" dt="2021-06-22T08:52:23.563" v="623" actId="1076"/>
          <ac:spMkLst>
            <pc:docMk/>
            <pc:sldMk cId="218520005" sldId="2576"/>
            <ac:spMk id="219" creationId="{6A86EBBD-17A2-4F64-8E70-E2259AE5DC50}"/>
          </ac:spMkLst>
        </pc:spChg>
        <pc:spChg chg="mod">
          <ac:chgData name="Müller, Kurt (SI BP S TSS TR)" userId="e7e82c7e-80c6-42a5-ab71-24588885b7fe" providerId="ADAL" clId="{9FEA2841-5B76-4EDB-8984-1B2D4375FBAF}" dt="2021-06-22T08:52:23.563" v="623" actId="1076"/>
          <ac:spMkLst>
            <pc:docMk/>
            <pc:sldMk cId="218520005" sldId="2576"/>
            <ac:spMk id="220" creationId="{8117170A-CA1D-44D0-9143-B207D5D95F93}"/>
          </ac:spMkLst>
        </pc:spChg>
        <pc:spChg chg="mod">
          <ac:chgData name="Müller, Kurt (SI BP S TSS TR)" userId="e7e82c7e-80c6-42a5-ab71-24588885b7fe" providerId="ADAL" clId="{9FEA2841-5B76-4EDB-8984-1B2D4375FBAF}" dt="2021-06-22T08:52:23.563" v="623" actId="1076"/>
          <ac:spMkLst>
            <pc:docMk/>
            <pc:sldMk cId="218520005" sldId="2576"/>
            <ac:spMk id="221" creationId="{85CEE738-7271-4AE0-BC26-053EE9011631}"/>
          </ac:spMkLst>
        </pc:spChg>
        <pc:spChg chg="mod">
          <ac:chgData name="Müller, Kurt (SI BP S TSS TR)" userId="e7e82c7e-80c6-42a5-ab71-24588885b7fe" providerId="ADAL" clId="{9FEA2841-5B76-4EDB-8984-1B2D4375FBAF}" dt="2021-06-22T08:52:23.563" v="623" actId="1076"/>
          <ac:spMkLst>
            <pc:docMk/>
            <pc:sldMk cId="218520005" sldId="2576"/>
            <ac:spMk id="222" creationId="{691A53EC-5B0C-41C9-83FC-360FBCF2BC57}"/>
          </ac:spMkLst>
        </pc:spChg>
        <pc:spChg chg="mod">
          <ac:chgData name="Müller, Kurt (SI BP S TSS TR)" userId="e7e82c7e-80c6-42a5-ab71-24588885b7fe" providerId="ADAL" clId="{9FEA2841-5B76-4EDB-8984-1B2D4375FBAF}" dt="2021-06-22T08:52:23.563" v="623" actId="1076"/>
          <ac:spMkLst>
            <pc:docMk/>
            <pc:sldMk cId="218520005" sldId="2576"/>
            <ac:spMk id="223" creationId="{AA17DD3F-92F9-44CB-A0F6-B8CCF24C5E78}"/>
          </ac:spMkLst>
        </pc:spChg>
        <pc:spChg chg="mod">
          <ac:chgData name="Müller, Kurt (SI BP S TSS TR)" userId="e7e82c7e-80c6-42a5-ab71-24588885b7fe" providerId="ADAL" clId="{9FEA2841-5B76-4EDB-8984-1B2D4375FBAF}" dt="2021-06-22T08:52:23.563" v="623" actId="1076"/>
          <ac:spMkLst>
            <pc:docMk/>
            <pc:sldMk cId="218520005" sldId="2576"/>
            <ac:spMk id="224" creationId="{EF814465-2572-46DE-AFE0-CDAFF01C027F}"/>
          </ac:spMkLst>
        </pc:spChg>
        <pc:spChg chg="del mod">
          <ac:chgData name="Müller, Kurt (SI BP S TSS TR)" userId="e7e82c7e-80c6-42a5-ab71-24588885b7fe" providerId="ADAL" clId="{9FEA2841-5B76-4EDB-8984-1B2D4375FBAF}" dt="2021-06-22T08:57:09.329" v="702" actId="478"/>
          <ac:spMkLst>
            <pc:docMk/>
            <pc:sldMk cId="218520005" sldId="2576"/>
            <ac:spMk id="231" creationId="{64CED230-87E4-41DD-A463-C828B9ABE064}"/>
          </ac:spMkLst>
        </pc:spChg>
        <pc:spChg chg="del mod topLvl">
          <ac:chgData name="Müller, Kurt (SI BP S TSS TR)" userId="e7e82c7e-80c6-42a5-ab71-24588885b7fe" providerId="ADAL" clId="{9FEA2841-5B76-4EDB-8984-1B2D4375FBAF}" dt="2021-06-22T08:57:25.495" v="706" actId="478"/>
          <ac:spMkLst>
            <pc:docMk/>
            <pc:sldMk cId="218520005" sldId="2576"/>
            <ac:spMk id="232" creationId="{C597BDEB-EA63-48DB-A4A2-5E162DD1516A}"/>
          </ac:spMkLst>
        </pc:spChg>
        <pc:spChg chg="del mod topLvl">
          <ac:chgData name="Müller, Kurt (SI BP S TSS TR)" userId="e7e82c7e-80c6-42a5-ab71-24588885b7fe" providerId="ADAL" clId="{9FEA2841-5B76-4EDB-8984-1B2D4375FBAF}" dt="2021-06-22T08:57:25.495" v="706" actId="478"/>
          <ac:spMkLst>
            <pc:docMk/>
            <pc:sldMk cId="218520005" sldId="2576"/>
            <ac:spMk id="233" creationId="{27033FE2-43AC-4CA3-A061-0F0E6215C5C6}"/>
          </ac:spMkLst>
        </pc:spChg>
        <pc:spChg chg="del mod topLvl">
          <ac:chgData name="Müller, Kurt (SI BP S TSS TR)" userId="e7e82c7e-80c6-42a5-ab71-24588885b7fe" providerId="ADAL" clId="{9FEA2841-5B76-4EDB-8984-1B2D4375FBAF}" dt="2021-06-22T08:57:25.495" v="706" actId="478"/>
          <ac:spMkLst>
            <pc:docMk/>
            <pc:sldMk cId="218520005" sldId="2576"/>
            <ac:spMk id="234" creationId="{8D40F4FC-99F1-45FE-A988-32DD8EF64292}"/>
          </ac:spMkLst>
        </pc:spChg>
        <pc:spChg chg="mod">
          <ac:chgData name="Müller, Kurt (SI BP S TSS TR)" userId="e7e82c7e-80c6-42a5-ab71-24588885b7fe" providerId="ADAL" clId="{9FEA2841-5B76-4EDB-8984-1B2D4375FBAF}" dt="2021-06-22T08:57:34.655" v="710" actId="1076"/>
          <ac:spMkLst>
            <pc:docMk/>
            <pc:sldMk cId="218520005" sldId="2576"/>
            <ac:spMk id="235" creationId="{BAC56717-5DF3-4D65-8224-114AD1CAD46E}"/>
          </ac:spMkLst>
        </pc:spChg>
        <pc:spChg chg="mod">
          <ac:chgData name="Müller, Kurt (SI BP S TSS TR)" userId="e7e82c7e-80c6-42a5-ab71-24588885b7fe" providerId="ADAL" clId="{9FEA2841-5B76-4EDB-8984-1B2D4375FBAF}" dt="2021-06-22T08:57:34.655" v="710" actId="1076"/>
          <ac:spMkLst>
            <pc:docMk/>
            <pc:sldMk cId="218520005" sldId="2576"/>
            <ac:spMk id="236" creationId="{F55D036D-1F67-4395-83A9-938493F1A76C}"/>
          </ac:spMkLst>
        </pc:spChg>
        <pc:spChg chg="mod">
          <ac:chgData name="Müller, Kurt (SI BP S TSS TR)" userId="e7e82c7e-80c6-42a5-ab71-24588885b7fe" providerId="ADAL" clId="{9FEA2841-5B76-4EDB-8984-1B2D4375FBAF}" dt="2021-06-22T08:57:34.655" v="710" actId="1076"/>
          <ac:spMkLst>
            <pc:docMk/>
            <pc:sldMk cId="218520005" sldId="2576"/>
            <ac:spMk id="237" creationId="{E65F615A-B158-4253-A751-C37C0BDE29E9}"/>
          </ac:spMkLst>
        </pc:spChg>
        <pc:spChg chg="mod">
          <ac:chgData name="Müller, Kurt (SI BP S TSS TR)" userId="e7e82c7e-80c6-42a5-ab71-24588885b7fe" providerId="ADAL" clId="{9FEA2841-5B76-4EDB-8984-1B2D4375FBAF}" dt="2021-06-22T08:57:34.655" v="710" actId="1076"/>
          <ac:spMkLst>
            <pc:docMk/>
            <pc:sldMk cId="218520005" sldId="2576"/>
            <ac:spMk id="238" creationId="{696DE758-04AE-4281-9D69-D536C56392C3}"/>
          </ac:spMkLst>
        </pc:spChg>
        <pc:spChg chg="mod">
          <ac:chgData name="Müller, Kurt (SI BP S TSS TR)" userId="e7e82c7e-80c6-42a5-ab71-24588885b7fe" providerId="ADAL" clId="{9FEA2841-5B76-4EDB-8984-1B2D4375FBAF}" dt="2021-06-22T08:57:34.655" v="710" actId="1076"/>
          <ac:spMkLst>
            <pc:docMk/>
            <pc:sldMk cId="218520005" sldId="2576"/>
            <ac:spMk id="239" creationId="{7A90E35F-9826-47CF-82A8-3207590D8EEC}"/>
          </ac:spMkLst>
        </pc:spChg>
        <pc:spChg chg="mod">
          <ac:chgData name="Müller, Kurt (SI BP S TSS TR)" userId="e7e82c7e-80c6-42a5-ab71-24588885b7fe" providerId="ADAL" clId="{9FEA2841-5B76-4EDB-8984-1B2D4375FBAF}" dt="2021-06-22T08:57:34.655" v="710" actId="1076"/>
          <ac:spMkLst>
            <pc:docMk/>
            <pc:sldMk cId="218520005" sldId="2576"/>
            <ac:spMk id="240" creationId="{A5292E85-E5B2-4E5A-82F0-FA99AE5120FD}"/>
          </ac:spMkLst>
        </pc:spChg>
        <pc:spChg chg="mod">
          <ac:chgData name="Müller, Kurt (SI BP S TSS TR)" userId="e7e82c7e-80c6-42a5-ab71-24588885b7fe" providerId="ADAL" clId="{9FEA2841-5B76-4EDB-8984-1B2D4375FBAF}" dt="2021-06-22T08:57:34.655" v="710" actId="1076"/>
          <ac:spMkLst>
            <pc:docMk/>
            <pc:sldMk cId="218520005" sldId="2576"/>
            <ac:spMk id="241" creationId="{540FC1F7-F270-4233-A6CF-B40DEB162087}"/>
          </ac:spMkLst>
        </pc:spChg>
        <pc:spChg chg="mod">
          <ac:chgData name="Müller, Kurt (SI BP S TSS TR)" userId="e7e82c7e-80c6-42a5-ab71-24588885b7fe" providerId="ADAL" clId="{9FEA2841-5B76-4EDB-8984-1B2D4375FBAF}" dt="2021-06-22T08:57:34.655" v="710" actId="1076"/>
          <ac:spMkLst>
            <pc:docMk/>
            <pc:sldMk cId="218520005" sldId="2576"/>
            <ac:spMk id="242" creationId="{A7A32240-79E9-423F-B635-E3EFDAAC8998}"/>
          </ac:spMkLst>
        </pc:spChg>
        <pc:spChg chg="mod">
          <ac:chgData name="Müller, Kurt (SI BP S TSS TR)" userId="e7e82c7e-80c6-42a5-ab71-24588885b7fe" providerId="ADAL" clId="{9FEA2841-5B76-4EDB-8984-1B2D4375FBAF}" dt="2021-06-22T08:57:34.655" v="710" actId="1076"/>
          <ac:spMkLst>
            <pc:docMk/>
            <pc:sldMk cId="218520005" sldId="2576"/>
            <ac:spMk id="243" creationId="{449E2054-EE5C-41D5-9F6E-872A693FB197}"/>
          </ac:spMkLst>
        </pc:spChg>
        <pc:spChg chg="mod">
          <ac:chgData name="Müller, Kurt (SI BP S TSS TR)" userId="e7e82c7e-80c6-42a5-ab71-24588885b7fe" providerId="ADAL" clId="{9FEA2841-5B76-4EDB-8984-1B2D4375FBAF}" dt="2021-06-22T08:57:34.655" v="710" actId="1076"/>
          <ac:spMkLst>
            <pc:docMk/>
            <pc:sldMk cId="218520005" sldId="2576"/>
            <ac:spMk id="244" creationId="{E5CD9A35-F8FB-44E3-9D25-D28958FD6FDE}"/>
          </ac:spMkLst>
        </pc:spChg>
        <pc:spChg chg="mod">
          <ac:chgData name="Müller, Kurt (SI BP S TSS TR)" userId="e7e82c7e-80c6-42a5-ab71-24588885b7fe" providerId="ADAL" clId="{9FEA2841-5B76-4EDB-8984-1B2D4375FBAF}" dt="2021-06-22T08:57:34.655" v="710" actId="1076"/>
          <ac:spMkLst>
            <pc:docMk/>
            <pc:sldMk cId="218520005" sldId="2576"/>
            <ac:spMk id="245" creationId="{360B6D81-69C3-4D33-B0B8-D3C4503D912F}"/>
          </ac:spMkLst>
        </pc:spChg>
        <pc:spChg chg="mod">
          <ac:chgData name="Müller, Kurt (SI BP S TSS TR)" userId="e7e82c7e-80c6-42a5-ab71-24588885b7fe" providerId="ADAL" clId="{9FEA2841-5B76-4EDB-8984-1B2D4375FBAF}" dt="2021-06-22T08:57:34.655" v="710" actId="1076"/>
          <ac:spMkLst>
            <pc:docMk/>
            <pc:sldMk cId="218520005" sldId="2576"/>
            <ac:spMk id="246" creationId="{89C58CAC-BCC0-4E98-A54C-2CD8E6A49BBE}"/>
          </ac:spMkLst>
        </pc:spChg>
        <pc:spChg chg="mod">
          <ac:chgData name="Müller, Kurt (SI BP S TSS TR)" userId="e7e82c7e-80c6-42a5-ab71-24588885b7fe" providerId="ADAL" clId="{9FEA2841-5B76-4EDB-8984-1B2D4375FBAF}" dt="2021-06-22T08:57:34.655" v="710" actId="1076"/>
          <ac:spMkLst>
            <pc:docMk/>
            <pc:sldMk cId="218520005" sldId="2576"/>
            <ac:spMk id="247" creationId="{B10EBA11-8CEE-442A-B99C-E05D55C91F2E}"/>
          </ac:spMkLst>
        </pc:spChg>
        <pc:spChg chg="mod">
          <ac:chgData name="Müller, Kurt (SI BP S TSS TR)" userId="e7e82c7e-80c6-42a5-ab71-24588885b7fe" providerId="ADAL" clId="{9FEA2841-5B76-4EDB-8984-1B2D4375FBAF}" dt="2021-06-22T08:57:34.655" v="710" actId="1076"/>
          <ac:spMkLst>
            <pc:docMk/>
            <pc:sldMk cId="218520005" sldId="2576"/>
            <ac:spMk id="248" creationId="{2432641B-8829-401C-BA3E-81AFEB045A87}"/>
          </ac:spMkLst>
        </pc:spChg>
        <pc:spChg chg="mod">
          <ac:chgData name="Müller, Kurt (SI BP S TSS TR)" userId="e7e82c7e-80c6-42a5-ab71-24588885b7fe" providerId="ADAL" clId="{9FEA2841-5B76-4EDB-8984-1B2D4375FBAF}" dt="2021-06-22T08:57:34.655" v="710" actId="1076"/>
          <ac:spMkLst>
            <pc:docMk/>
            <pc:sldMk cId="218520005" sldId="2576"/>
            <ac:spMk id="249" creationId="{4CC574EE-7431-43E3-BCF0-69727344C91E}"/>
          </ac:spMkLst>
        </pc:spChg>
        <pc:spChg chg="mod">
          <ac:chgData name="Müller, Kurt (SI BP S TSS TR)" userId="e7e82c7e-80c6-42a5-ab71-24588885b7fe" providerId="ADAL" clId="{9FEA2841-5B76-4EDB-8984-1B2D4375FBAF}" dt="2021-06-22T08:57:34.655" v="710" actId="1076"/>
          <ac:spMkLst>
            <pc:docMk/>
            <pc:sldMk cId="218520005" sldId="2576"/>
            <ac:spMk id="250" creationId="{476E745C-0E9A-449A-ADF0-9FB5AF43EA9E}"/>
          </ac:spMkLst>
        </pc:spChg>
        <pc:spChg chg="mod">
          <ac:chgData name="Müller, Kurt (SI BP S TSS TR)" userId="e7e82c7e-80c6-42a5-ab71-24588885b7fe" providerId="ADAL" clId="{9FEA2841-5B76-4EDB-8984-1B2D4375FBAF}" dt="2021-06-22T08:57:34.655" v="710" actId="1076"/>
          <ac:spMkLst>
            <pc:docMk/>
            <pc:sldMk cId="218520005" sldId="2576"/>
            <ac:spMk id="251" creationId="{DFF26D0D-20E3-48D3-AB34-D1334C09C406}"/>
          </ac:spMkLst>
        </pc:spChg>
        <pc:spChg chg="mod">
          <ac:chgData name="Müller, Kurt (SI BP S TSS TR)" userId="e7e82c7e-80c6-42a5-ab71-24588885b7fe" providerId="ADAL" clId="{9FEA2841-5B76-4EDB-8984-1B2D4375FBAF}" dt="2021-06-22T08:57:34.655" v="710" actId="1076"/>
          <ac:spMkLst>
            <pc:docMk/>
            <pc:sldMk cId="218520005" sldId="2576"/>
            <ac:spMk id="252" creationId="{F75D90CC-5B68-4EBA-8FF0-55C0F766185C}"/>
          </ac:spMkLst>
        </pc:spChg>
        <pc:spChg chg="mod">
          <ac:chgData name="Müller, Kurt (SI BP S TSS TR)" userId="e7e82c7e-80c6-42a5-ab71-24588885b7fe" providerId="ADAL" clId="{9FEA2841-5B76-4EDB-8984-1B2D4375FBAF}" dt="2021-06-22T08:57:34.655" v="710" actId="1076"/>
          <ac:spMkLst>
            <pc:docMk/>
            <pc:sldMk cId="218520005" sldId="2576"/>
            <ac:spMk id="253" creationId="{80890041-13DD-4852-85B5-2198B00A9531}"/>
          </ac:spMkLst>
        </pc:spChg>
        <pc:spChg chg="mod">
          <ac:chgData name="Müller, Kurt (SI BP S TSS TR)" userId="e7e82c7e-80c6-42a5-ab71-24588885b7fe" providerId="ADAL" clId="{9FEA2841-5B76-4EDB-8984-1B2D4375FBAF}" dt="2021-06-22T08:57:34.655" v="710" actId="1076"/>
          <ac:spMkLst>
            <pc:docMk/>
            <pc:sldMk cId="218520005" sldId="2576"/>
            <ac:spMk id="254" creationId="{13E4EBC6-6271-49A9-81A4-583CB074EB06}"/>
          </ac:spMkLst>
        </pc:spChg>
        <pc:spChg chg="mod">
          <ac:chgData name="Müller, Kurt (SI BP S TSS TR)" userId="e7e82c7e-80c6-42a5-ab71-24588885b7fe" providerId="ADAL" clId="{9FEA2841-5B76-4EDB-8984-1B2D4375FBAF}" dt="2021-06-22T08:57:34.655" v="710" actId="1076"/>
          <ac:spMkLst>
            <pc:docMk/>
            <pc:sldMk cId="218520005" sldId="2576"/>
            <ac:spMk id="255" creationId="{8DCAD5C4-6912-45A3-8D1C-4E75AC932411}"/>
          </ac:spMkLst>
        </pc:spChg>
        <pc:spChg chg="mod">
          <ac:chgData name="Müller, Kurt (SI BP S TSS TR)" userId="e7e82c7e-80c6-42a5-ab71-24588885b7fe" providerId="ADAL" clId="{9FEA2841-5B76-4EDB-8984-1B2D4375FBAF}" dt="2021-06-22T08:57:34.655" v="710" actId="1076"/>
          <ac:spMkLst>
            <pc:docMk/>
            <pc:sldMk cId="218520005" sldId="2576"/>
            <ac:spMk id="256" creationId="{1EC32754-E8C7-4BE7-8FC0-26133149761B}"/>
          </ac:spMkLst>
        </pc:spChg>
        <pc:spChg chg="mod">
          <ac:chgData name="Müller, Kurt (SI BP S TSS TR)" userId="e7e82c7e-80c6-42a5-ab71-24588885b7fe" providerId="ADAL" clId="{9FEA2841-5B76-4EDB-8984-1B2D4375FBAF}" dt="2021-06-22T08:57:34.655" v="710" actId="1076"/>
          <ac:spMkLst>
            <pc:docMk/>
            <pc:sldMk cId="218520005" sldId="2576"/>
            <ac:spMk id="257" creationId="{ED56DB00-8429-411C-A7C5-30A35F4C9181}"/>
          </ac:spMkLst>
        </pc:spChg>
        <pc:spChg chg="mod">
          <ac:chgData name="Müller, Kurt (SI BP S TSS TR)" userId="e7e82c7e-80c6-42a5-ab71-24588885b7fe" providerId="ADAL" clId="{9FEA2841-5B76-4EDB-8984-1B2D4375FBAF}" dt="2021-06-22T08:57:34.655" v="710" actId="1076"/>
          <ac:spMkLst>
            <pc:docMk/>
            <pc:sldMk cId="218520005" sldId="2576"/>
            <ac:spMk id="258" creationId="{D6650105-7F35-4E66-AB10-D9DFE88DBC96}"/>
          </ac:spMkLst>
        </pc:spChg>
        <pc:spChg chg="mod">
          <ac:chgData name="Müller, Kurt (SI BP S TSS TR)" userId="e7e82c7e-80c6-42a5-ab71-24588885b7fe" providerId="ADAL" clId="{9FEA2841-5B76-4EDB-8984-1B2D4375FBAF}" dt="2021-06-22T08:57:34.655" v="710" actId="1076"/>
          <ac:spMkLst>
            <pc:docMk/>
            <pc:sldMk cId="218520005" sldId="2576"/>
            <ac:spMk id="259" creationId="{C84E3E23-9161-453D-904B-B8893AE67457}"/>
          </ac:spMkLst>
        </pc:spChg>
        <pc:spChg chg="mod">
          <ac:chgData name="Müller, Kurt (SI BP S TSS TR)" userId="e7e82c7e-80c6-42a5-ab71-24588885b7fe" providerId="ADAL" clId="{9FEA2841-5B76-4EDB-8984-1B2D4375FBAF}" dt="2021-06-22T08:57:34.655" v="710" actId="1076"/>
          <ac:spMkLst>
            <pc:docMk/>
            <pc:sldMk cId="218520005" sldId="2576"/>
            <ac:spMk id="260" creationId="{0BA1DBAC-E646-4C4D-99FF-BEDF3EA12C28}"/>
          </ac:spMkLst>
        </pc:spChg>
        <pc:spChg chg="mod">
          <ac:chgData name="Müller, Kurt (SI BP S TSS TR)" userId="e7e82c7e-80c6-42a5-ab71-24588885b7fe" providerId="ADAL" clId="{9FEA2841-5B76-4EDB-8984-1B2D4375FBAF}" dt="2021-06-22T08:57:34.655" v="710" actId="1076"/>
          <ac:spMkLst>
            <pc:docMk/>
            <pc:sldMk cId="218520005" sldId="2576"/>
            <ac:spMk id="261" creationId="{A979BB4D-D739-4956-B978-E8E4E471BCD0}"/>
          </ac:spMkLst>
        </pc:spChg>
        <pc:spChg chg="add mod">
          <ac:chgData name="Müller, Kurt (SI BP S TSS TR)" userId="e7e82c7e-80c6-42a5-ab71-24588885b7fe" providerId="ADAL" clId="{9FEA2841-5B76-4EDB-8984-1B2D4375FBAF}" dt="2021-06-22T08:56:55.951" v="700" actId="1076"/>
          <ac:spMkLst>
            <pc:docMk/>
            <pc:sldMk cId="218520005" sldId="2576"/>
            <ac:spMk id="272" creationId="{6CF84B83-B4EF-4DD0-ADC9-8BEE9CF575A3}"/>
          </ac:spMkLst>
        </pc:spChg>
        <pc:spChg chg="add mod">
          <ac:chgData name="Müller, Kurt (SI BP S TSS TR)" userId="e7e82c7e-80c6-42a5-ab71-24588885b7fe" providerId="ADAL" clId="{9FEA2841-5B76-4EDB-8984-1B2D4375FBAF}" dt="2021-06-23T10:46:14.638" v="770" actId="1076"/>
          <ac:spMkLst>
            <pc:docMk/>
            <pc:sldMk cId="218520005" sldId="2576"/>
            <ac:spMk id="273" creationId="{DBCE9F3F-0485-4094-AD9D-31B03C4A0045}"/>
          </ac:spMkLst>
        </pc:spChg>
        <pc:spChg chg="add mod ord">
          <ac:chgData name="Müller, Kurt (SI BP S TSS TR)" userId="e7e82c7e-80c6-42a5-ab71-24588885b7fe" providerId="ADAL" clId="{9FEA2841-5B76-4EDB-8984-1B2D4375FBAF}" dt="2021-06-22T08:59:31.080" v="723" actId="166"/>
          <ac:spMkLst>
            <pc:docMk/>
            <pc:sldMk cId="218520005" sldId="2576"/>
            <ac:spMk id="274" creationId="{01B8BC2B-0A1D-4661-8080-F78B5F8B107C}"/>
          </ac:spMkLst>
        </pc:spChg>
        <pc:spChg chg="add mod">
          <ac:chgData name="Müller, Kurt (SI BP S TSS TR)" userId="e7e82c7e-80c6-42a5-ab71-24588885b7fe" providerId="ADAL" clId="{9FEA2841-5B76-4EDB-8984-1B2D4375FBAF}" dt="2021-06-22T09:01:19.598" v="753"/>
          <ac:spMkLst>
            <pc:docMk/>
            <pc:sldMk cId="218520005" sldId="2576"/>
            <ac:spMk id="275" creationId="{9D9306A2-198A-4206-ADEE-26216095E6B4}"/>
          </ac:spMkLst>
        </pc:spChg>
        <pc:spChg chg="add mod">
          <ac:chgData name="Müller, Kurt (SI BP S TSS TR)" userId="e7e82c7e-80c6-42a5-ab71-24588885b7fe" providerId="ADAL" clId="{9FEA2841-5B76-4EDB-8984-1B2D4375FBAF}" dt="2021-06-22T08:56:22.071" v="681" actId="1076"/>
          <ac:spMkLst>
            <pc:docMk/>
            <pc:sldMk cId="218520005" sldId="2576"/>
            <ac:spMk id="1055" creationId="{D1F0EFEE-BAFA-4471-ACCB-A6F7E1FCE945}"/>
          </ac:spMkLst>
        </pc:spChg>
        <pc:grpChg chg="del">
          <ac:chgData name="Müller, Kurt (SI BP S TSS TR)" userId="e7e82c7e-80c6-42a5-ab71-24588885b7fe" providerId="ADAL" clId="{9FEA2841-5B76-4EDB-8984-1B2D4375FBAF}" dt="2021-06-22T06:37:51.703" v="377" actId="478"/>
          <ac:grpSpMkLst>
            <pc:docMk/>
            <pc:sldMk cId="218520005" sldId="2576"/>
            <ac:grpSpMk id="5" creationId="{669F595A-F3B3-44C8-8CB5-09DCCC9DE011}"/>
          </ac:grpSpMkLst>
        </pc:grpChg>
        <pc:grpChg chg="add mod topLvl">
          <ac:chgData name="Müller, Kurt (SI BP S TSS TR)" userId="e7e82c7e-80c6-42a5-ab71-24588885b7fe" providerId="ADAL" clId="{9FEA2841-5B76-4EDB-8984-1B2D4375FBAF}" dt="2021-06-22T06:54:31.202" v="510" actId="164"/>
          <ac:grpSpMkLst>
            <pc:docMk/>
            <pc:sldMk cId="218520005" sldId="2576"/>
            <ac:grpSpMk id="14" creationId="{9FE19654-BA2B-4F99-9C1C-D7FD79876DBB}"/>
          </ac:grpSpMkLst>
        </pc:grpChg>
        <pc:grpChg chg="add del mod">
          <ac:chgData name="Müller, Kurt (SI BP S TSS TR)" userId="e7e82c7e-80c6-42a5-ab71-24588885b7fe" providerId="ADAL" clId="{9FEA2841-5B76-4EDB-8984-1B2D4375FBAF}" dt="2021-06-22T06:53:33.493" v="486" actId="165"/>
          <ac:grpSpMkLst>
            <pc:docMk/>
            <pc:sldMk cId="218520005" sldId="2576"/>
            <ac:grpSpMk id="15" creationId="{BA92A07C-9A81-40EE-B65C-7A91B8CCDB21}"/>
          </ac:grpSpMkLst>
        </pc:grpChg>
        <pc:grpChg chg="add del mod">
          <ac:chgData name="Müller, Kurt (SI BP S TSS TR)" userId="e7e82c7e-80c6-42a5-ab71-24588885b7fe" providerId="ADAL" clId="{9FEA2841-5B76-4EDB-8984-1B2D4375FBAF}" dt="2021-06-22T06:53:33.493" v="486" actId="165"/>
          <ac:grpSpMkLst>
            <pc:docMk/>
            <pc:sldMk cId="218520005" sldId="2576"/>
            <ac:grpSpMk id="17" creationId="{4FA12C70-979F-49C6-B2B6-353CDF408E0C}"/>
          </ac:grpSpMkLst>
        </pc:grpChg>
        <pc:grpChg chg="add del mod">
          <ac:chgData name="Müller, Kurt (SI BP S TSS TR)" userId="e7e82c7e-80c6-42a5-ab71-24588885b7fe" providerId="ADAL" clId="{9FEA2841-5B76-4EDB-8984-1B2D4375FBAF}" dt="2021-06-22T08:50:16.640" v="604" actId="478"/>
          <ac:grpSpMkLst>
            <pc:docMk/>
            <pc:sldMk cId="218520005" sldId="2576"/>
            <ac:grpSpMk id="18" creationId="{40365306-2147-4C56-8F00-44B1B1221697}"/>
          </ac:grpSpMkLst>
        </pc:grpChg>
        <pc:grpChg chg="add del mod">
          <ac:chgData name="Müller, Kurt (SI BP S TSS TR)" userId="e7e82c7e-80c6-42a5-ab71-24588885b7fe" providerId="ADAL" clId="{9FEA2841-5B76-4EDB-8984-1B2D4375FBAF}" dt="2021-06-22T08:50:16.640" v="604" actId="478"/>
          <ac:grpSpMkLst>
            <pc:docMk/>
            <pc:sldMk cId="218520005" sldId="2576"/>
            <ac:grpSpMk id="31" creationId="{2EA0C4FD-65F9-4F4A-B8B5-360D36B6226C}"/>
          </ac:grpSpMkLst>
        </pc:grpChg>
        <pc:grpChg chg="add del mod">
          <ac:chgData name="Müller, Kurt (SI BP S TSS TR)" userId="e7e82c7e-80c6-42a5-ab71-24588885b7fe" providerId="ADAL" clId="{9FEA2841-5B76-4EDB-8984-1B2D4375FBAF}" dt="2021-06-22T08:50:16.640" v="604" actId="478"/>
          <ac:grpSpMkLst>
            <pc:docMk/>
            <pc:sldMk cId="218520005" sldId="2576"/>
            <ac:grpSpMk id="34" creationId="{0027988D-0874-4536-9A92-E59FB658DF8A}"/>
          </ac:grpSpMkLst>
        </pc:grpChg>
        <pc:grpChg chg="mod">
          <ac:chgData name="Müller, Kurt (SI BP S TSS TR)" userId="e7e82c7e-80c6-42a5-ab71-24588885b7fe" providerId="ADAL" clId="{9FEA2841-5B76-4EDB-8984-1B2D4375FBAF}" dt="2021-06-22T06:40:58.104" v="380"/>
          <ac:grpSpMkLst>
            <pc:docMk/>
            <pc:sldMk cId="218520005" sldId="2576"/>
            <ac:grpSpMk id="36" creationId="{A68DF216-0B2F-4E47-993E-BF1E3DB37B32}"/>
          </ac:grpSpMkLst>
        </pc:grpChg>
        <pc:grpChg chg="mod">
          <ac:chgData name="Müller, Kurt (SI BP S TSS TR)" userId="e7e82c7e-80c6-42a5-ab71-24588885b7fe" providerId="ADAL" clId="{9FEA2841-5B76-4EDB-8984-1B2D4375FBAF}" dt="2021-06-22T06:40:58.104" v="380"/>
          <ac:grpSpMkLst>
            <pc:docMk/>
            <pc:sldMk cId="218520005" sldId="2576"/>
            <ac:grpSpMk id="37" creationId="{B09772BB-A894-476D-B94A-998CA56432D5}"/>
          </ac:grpSpMkLst>
        </pc:grpChg>
        <pc:grpChg chg="add del mod">
          <ac:chgData name="Müller, Kurt (SI BP S TSS TR)" userId="e7e82c7e-80c6-42a5-ab71-24588885b7fe" providerId="ADAL" clId="{9FEA2841-5B76-4EDB-8984-1B2D4375FBAF}" dt="2021-06-22T08:50:16.640" v="604" actId="478"/>
          <ac:grpSpMkLst>
            <pc:docMk/>
            <pc:sldMk cId="218520005" sldId="2576"/>
            <ac:grpSpMk id="50" creationId="{77552CE5-CCD2-41B5-B764-274B995796C0}"/>
          </ac:grpSpMkLst>
        </pc:grpChg>
        <pc:grpChg chg="mod">
          <ac:chgData name="Müller, Kurt (SI BP S TSS TR)" userId="e7e82c7e-80c6-42a5-ab71-24588885b7fe" providerId="ADAL" clId="{9FEA2841-5B76-4EDB-8984-1B2D4375FBAF}" dt="2021-06-22T06:40:58.104" v="380"/>
          <ac:grpSpMkLst>
            <pc:docMk/>
            <pc:sldMk cId="218520005" sldId="2576"/>
            <ac:grpSpMk id="52" creationId="{341CE887-404D-448B-A43A-D4B494A3FF99}"/>
          </ac:grpSpMkLst>
        </pc:grpChg>
        <pc:grpChg chg="mod">
          <ac:chgData name="Müller, Kurt (SI BP S TSS TR)" userId="e7e82c7e-80c6-42a5-ab71-24588885b7fe" providerId="ADAL" clId="{9FEA2841-5B76-4EDB-8984-1B2D4375FBAF}" dt="2021-06-22T06:40:58.104" v="380"/>
          <ac:grpSpMkLst>
            <pc:docMk/>
            <pc:sldMk cId="218520005" sldId="2576"/>
            <ac:grpSpMk id="53" creationId="{FF673785-D2C1-47AE-BA00-9BC7150A818F}"/>
          </ac:grpSpMkLst>
        </pc:grpChg>
        <pc:grpChg chg="add del mod">
          <ac:chgData name="Müller, Kurt (SI BP S TSS TR)" userId="e7e82c7e-80c6-42a5-ab71-24588885b7fe" providerId="ADAL" clId="{9FEA2841-5B76-4EDB-8984-1B2D4375FBAF}" dt="2021-06-22T07:04:29.367" v="522" actId="165"/>
          <ac:grpSpMkLst>
            <pc:docMk/>
            <pc:sldMk cId="218520005" sldId="2576"/>
            <ac:grpSpMk id="73" creationId="{395EB019-873A-4586-9939-318F384B4175}"/>
          </ac:grpSpMkLst>
        </pc:grpChg>
        <pc:grpChg chg="add del mod">
          <ac:chgData name="Müller, Kurt (SI BP S TSS TR)" userId="e7e82c7e-80c6-42a5-ab71-24588885b7fe" providerId="ADAL" clId="{9FEA2841-5B76-4EDB-8984-1B2D4375FBAF}" dt="2021-06-22T07:05:13.344" v="532" actId="165"/>
          <ac:grpSpMkLst>
            <pc:docMk/>
            <pc:sldMk cId="218520005" sldId="2576"/>
            <ac:grpSpMk id="76" creationId="{CC576071-009D-4C55-A55C-EBF8C0611D48}"/>
          </ac:grpSpMkLst>
        </pc:grpChg>
        <pc:grpChg chg="del mod topLvl">
          <ac:chgData name="Müller, Kurt (SI BP S TSS TR)" userId="e7e82c7e-80c6-42a5-ab71-24588885b7fe" providerId="ADAL" clId="{9FEA2841-5B76-4EDB-8984-1B2D4375FBAF}" dt="2021-06-22T07:05:20.366" v="534" actId="165"/>
          <ac:grpSpMkLst>
            <pc:docMk/>
            <pc:sldMk cId="218520005" sldId="2576"/>
            <ac:grpSpMk id="78" creationId="{6A679F22-1957-40A5-92DF-8791BDB08F93}"/>
          </ac:grpSpMkLst>
        </pc:grpChg>
        <pc:grpChg chg="del mod topLvl">
          <ac:chgData name="Müller, Kurt (SI BP S TSS TR)" userId="e7e82c7e-80c6-42a5-ab71-24588885b7fe" providerId="ADAL" clId="{9FEA2841-5B76-4EDB-8984-1B2D4375FBAF}" dt="2021-06-22T08:50:16.640" v="604" actId="478"/>
          <ac:grpSpMkLst>
            <pc:docMk/>
            <pc:sldMk cId="218520005" sldId="2576"/>
            <ac:grpSpMk id="79" creationId="{88E941E5-4416-4F84-9598-0213682B15B9}"/>
          </ac:grpSpMkLst>
        </pc:grpChg>
        <pc:grpChg chg="add del mod">
          <ac:chgData name="Müller, Kurt (SI BP S TSS TR)" userId="e7e82c7e-80c6-42a5-ab71-24588885b7fe" providerId="ADAL" clId="{9FEA2841-5B76-4EDB-8984-1B2D4375FBAF}" dt="2021-06-22T06:42:17.317" v="399" actId="165"/>
          <ac:grpSpMkLst>
            <pc:docMk/>
            <pc:sldMk cId="218520005" sldId="2576"/>
            <ac:grpSpMk id="90" creationId="{AC37B030-0E32-4B36-B23D-0B8A62FF008B}"/>
          </ac:grpSpMkLst>
        </pc:grpChg>
        <pc:grpChg chg="del mod topLvl">
          <ac:chgData name="Müller, Kurt (SI BP S TSS TR)" userId="e7e82c7e-80c6-42a5-ab71-24588885b7fe" providerId="ADAL" clId="{9FEA2841-5B76-4EDB-8984-1B2D4375FBAF}" dt="2021-06-22T08:50:16.640" v="604" actId="478"/>
          <ac:grpSpMkLst>
            <pc:docMk/>
            <pc:sldMk cId="218520005" sldId="2576"/>
            <ac:grpSpMk id="92" creationId="{9540B5B0-3AF6-47DF-AA8B-6012F077AF49}"/>
          </ac:grpSpMkLst>
        </pc:grpChg>
        <pc:grpChg chg="mod topLvl">
          <ac:chgData name="Müller, Kurt (SI BP S TSS TR)" userId="e7e82c7e-80c6-42a5-ab71-24588885b7fe" providerId="ADAL" clId="{9FEA2841-5B76-4EDB-8984-1B2D4375FBAF}" dt="2021-06-22T06:54:31.202" v="510" actId="164"/>
          <ac:grpSpMkLst>
            <pc:docMk/>
            <pc:sldMk cId="218520005" sldId="2576"/>
            <ac:grpSpMk id="93" creationId="{47E20BDE-942F-4AD7-92A4-864E332E1AD7}"/>
          </ac:grpSpMkLst>
        </pc:grpChg>
        <pc:grpChg chg="add mod topLvl">
          <ac:chgData name="Müller, Kurt (SI BP S TSS TR)" userId="e7e82c7e-80c6-42a5-ab71-24588885b7fe" providerId="ADAL" clId="{9FEA2841-5B76-4EDB-8984-1B2D4375FBAF}" dt="2021-06-22T06:54:26.854" v="509" actId="164"/>
          <ac:grpSpMkLst>
            <pc:docMk/>
            <pc:sldMk cId="218520005" sldId="2576"/>
            <ac:grpSpMk id="101" creationId="{F21C1A85-2E71-445F-B114-31AF8BD2C8B5}"/>
          </ac:grpSpMkLst>
        </pc:grpChg>
        <pc:grpChg chg="add mod">
          <ac:chgData name="Müller, Kurt (SI BP S TSS TR)" userId="e7e82c7e-80c6-42a5-ab71-24588885b7fe" providerId="ADAL" clId="{9FEA2841-5B76-4EDB-8984-1B2D4375FBAF}" dt="2021-06-23T10:45:44.511" v="765" actId="1076"/>
          <ac:grpSpMkLst>
            <pc:docMk/>
            <pc:sldMk cId="218520005" sldId="2576"/>
            <ac:grpSpMk id="120" creationId="{7BC5C803-395B-4E9A-A354-6A186F8A4621}"/>
          </ac:grpSpMkLst>
        </pc:grpChg>
        <pc:grpChg chg="add del mod">
          <ac:chgData name="Müller, Kurt (SI BP S TSS TR)" userId="e7e82c7e-80c6-42a5-ab71-24588885b7fe" providerId="ADAL" clId="{9FEA2841-5B76-4EDB-8984-1B2D4375FBAF}" dt="2021-06-22T06:50:13.896" v="452" actId="478"/>
          <ac:grpSpMkLst>
            <pc:docMk/>
            <pc:sldMk cId="218520005" sldId="2576"/>
            <ac:grpSpMk id="124" creationId="{84F00830-764A-4749-945E-80D136E27DDD}"/>
          </ac:grpSpMkLst>
        </pc:grpChg>
        <pc:grpChg chg="del mod">
          <ac:chgData name="Müller, Kurt (SI BP S TSS TR)" userId="e7e82c7e-80c6-42a5-ab71-24588885b7fe" providerId="ADAL" clId="{9FEA2841-5B76-4EDB-8984-1B2D4375FBAF}" dt="2021-06-22T06:50:15.689" v="453" actId="478"/>
          <ac:grpSpMkLst>
            <pc:docMk/>
            <pc:sldMk cId="218520005" sldId="2576"/>
            <ac:grpSpMk id="125" creationId="{357DBED1-8375-4620-9306-74A499157ACF}"/>
          </ac:grpSpMkLst>
        </pc:grpChg>
        <pc:grpChg chg="add mod">
          <ac:chgData name="Müller, Kurt (SI BP S TSS TR)" userId="e7e82c7e-80c6-42a5-ab71-24588885b7fe" providerId="ADAL" clId="{9FEA2841-5B76-4EDB-8984-1B2D4375FBAF}" dt="2021-06-22T08:50:09.742" v="600" actId="1076"/>
          <ac:grpSpMkLst>
            <pc:docMk/>
            <pc:sldMk cId="218520005" sldId="2576"/>
            <ac:grpSpMk id="133" creationId="{8A63F059-9CCD-4DD0-B905-BDAC584C6458}"/>
          </ac:grpSpMkLst>
        </pc:grpChg>
        <pc:grpChg chg="add mod">
          <ac:chgData name="Müller, Kurt (SI BP S TSS TR)" userId="e7e82c7e-80c6-42a5-ab71-24588885b7fe" providerId="ADAL" clId="{9FEA2841-5B76-4EDB-8984-1B2D4375FBAF}" dt="2021-06-22T08:50:09.742" v="600" actId="1076"/>
          <ac:grpSpMkLst>
            <pc:docMk/>
            <pc:sldMk cId="218520005" sldId="2576"/>
            <ac:grpSpMk id="139" creationId="{3DB31EC1-297A-42A2-92CC-9B5EA3B7DE53}"/>
          </ac:grpSpMkLst>
        </pc:grpChg>
        <pc:grpChg chg="add mod ord">
          <ac:chgData name="Müller, Kurt (SI BP S TSS TR)" userId="e7e82c7e-80c6-42a5-ab71-24588885b7fe" providerId="ADAL" clId="{9FEA2841-5B76-4EDB-8984-1B2D4375FBAF}" dt="2021-06-22T08:50:09.742" v="600" actId="1076"/>
          <ac:grpSpMkLst>
            <pc:docMk/>
            <pc:sldMk cId="218520005" sldId="2576"/>
            <ac:grpSpMk id="156" creationId="{0457F5DE-B953-44C6-9312-32EC0591EA30}"/>
          </ac:grpSpMkLst>
        </pc:grpChg>
        <pc:grpChg chg="add mod">
          <ac:chgData name="Müller, Kurt (SI BP S TSS TR)" userId="e7e82c7e-80c6-42a5-ab71-24588885b7fe" providerId="ADAL" clId="{9FEA2841-5B76-4EDB-8984-1B2D4375FBAF}" dt="2021-06-22T08:50:09.742" v="600" actId="1076"/>
          <ac:grpSpMkLst>
            <pc:docMk/>
            <pc:sldMk cId="218520005" sldId="2576"/>
            <ac:grpSpMk id="170" creationId="{677FCABC-3ACB-4897-A218-FF3E7B066DEF}"/>
          </ac:grpSpMkLst>
        </pc:grpChg>
        <pc:grpChg chg="add mod">
          <ac:chgData name="Müller, Kurt (SI BP S TSS TR)" userId="e7e82c7e-80c6-42a5-ab71-24588885b7fe" providerId="ADAL" clId="{9FEA2841-5B76-4EDB-8984-1B2D4375FBAF}" dt="2021-06-22T08:50:09.742" v="600" actId="1076"/>
          <ac:grpSpMkLst>
            <pc:docMk/>
            <pc:sldMk cId="218520005" sldId="2576"/>
            <ac:grpSpMk id="181" creationId="{8321C90D-539C-4CB3-9CD5-FB1F7F0FE1AE}"/>
          </ac:grpSpMkLst>
        </pc:grpChg>
        <pc:grpChg chg="add del mod">
          <ac:chgData name="Müller, Kurt (SI BP S TSS TR)" userId="e7e82c7e-80c6-42a5-ab71-24588885b7fe" providerId="ADAL" clId="{9FEA2841-5B76-4EDB-8984-1B2D4375FBAF}" dt="2021-06-22T08:52:05.410" v="619" actId="478"/>
          <ac:grpSpMkLst>
            <pc:docMk/>
            <pc:sldMk cId="218520005" sldId="2576"/>
            <ac:grpSpMk id="192" creationId="{B89A8864-97E2-4D3F-9972-DAFB3D0BF62A}"/>
          </ac:grpSpMkLst>
        </pc:grpChg>
        <pc:grpChg chg="mod">
          <ac:chgData name="Müller, Kurt (SI BP S TSS TR)" userId="e7e82c7e-80c6-42a5-ab71-24588885b7fe" providerId="ADAL" clId="{9FEA2841-5B76-4EDB-8984-1B2D4375FBAF}" dt="2021-06-22T08:51:48.712" v="616"/>
          <ac:grpSpMkLst>
            <pc:docMk/>
            <pc:sldMk cId="218520005" sldId="2576"/>
            <ac:grpSpMk id="193" creationId="{74CC6EC1-415E-499A-956B-BDF83410DEB0}"/>
          </ac:grpSpMkLst>
        </pc:grpChg>
        <pc:grpChg chg="add mod">
          <ac:chgData name="Müller, Kurt (SI BP S TSS TR)" userId="e7e82c7e-80c6-42a5-ab71-24588885b7fe" providerId="ADAL" clId="{9FEA2841-5B76-4EDB-8984-1B2D4375FBAF}" dt="2021-06-22T08:52:23.563" v="623" actId="1076"/>
          <ac:grpSpMkLst>
            <pc:docMk/>
            <pc:sldMk cId="218520005" sldId="2576"/>
            <ac:grpSpMk id="213" creationId="{BB08FFEE-DBAA-4EF8-B4E2-28260625979D}"/>
          </ac:grpSpMkLst>
        </pc:grpChg>
        <pc:grpChg chg="mod">
          <ac:chgData name="Müller, Kurt (SI BP S TSS TR)" userId="e7e82c7e-80c6-42a5-ab71-24588885b7fe" providerId="ADAL" clId="{9FEA2841-5B76-4EDB-8984-1B2D4375FBAF}" dt="2021-06-22T08:52:23.563" v="623" actId="1076"/>
          <ac:grpSpMkLst>
            <pc:docMk/>
            <pc:sldMk cId="218520005" sldId="2576"/>
            <ac:grpSpMk id="214" creationId="{A520A11F-9674-467E-9E7F-99DD01837EDD}"/>
          </ac:grpSpMkLst>
        </pc:grpChg>
        <pc:grpChg chg="add del mod">
          <ac:chgData name="Müller, Kurt (SI BP S TSS TR)" userId="e7e82c7e-80c6-42a5-ab71-24588885b7fe" providerId="ADAL" clId="{9FEA2841-5B76-4EDB-8984-1B2D4375FBAF}" dt="2021-06-22T08:57:18.593" v="704" actId="165"/>
          <ac:grpSpMkLst>
            <pc:docMk/>
            <pc:sldMk cId="218520005" sldId="2576"/>
            <ac:grpSpMk id="225" creationId="{F024C1D1-AD7C-4706-B810-7D5E71CDB7BC}"/>
          </ac:grpSpMkLst>
        </pc:grpChg>
        <pc:grpChg chg="mod topLvl">
          <ac:chgData name="Müller, Kurt (SI BP S TSS TR)" userId="e7e82c7e-80c6-42a5-ab71-24588885b7fe" providerId="ADAL" clId="{9FEA2841-5B76-4EDB-8984-1B2D4375FBAF}" dt="2021-06-22T08:57:34.655" v="710" actId="1076"/>
          <ac:grpSpMkLst>
            <pc:docMk/>
            <pc:sldMk cId="218520005" sldId="2576"/>
            <ac:grpSpMk id="226" creationId="{ACBA051D-38B6-4E31-8A51-730E80DE4C4E}"/>
          </ac:grpSpMkLst>
        </pc:grpChg>
        <pc:grpChg chg="add mod">
          <ac:chgData name="Müller, Kurt (SI BP S TSS TR)" userId="e7e82c7e-80c6-42a5-ab71-24588885b7fe" providerId="ADAL" clId="{9FEA2841-5B76-4EDB-8984-1B2D4375FBAF}" dt="2021-06-22T08:50:09.742" v="600" actId="1076"/>
          <ac:grpSpMkLst>
            <pc:docMk/>
            <pc:sldMk cId="218520005" sldId="2576"/>
            <ac:grpSpMk id="1024" creationId="{CEBA408E-5B89-4889-A940-8AEA10B9AD8F}"/>
          </ac:grpSpMkLst>
        </pc:grpChg>
        <pc:grpChg chg="add mod">
          <ac:chgData name="Müller, Kurt (SI BP S TSS TR)" userId="e7e82c7e-80c6-42a5-ab71-24588885b7fe" providerId="ADAL" clId="{9FEA2841-5B76-4EDB-8984-1B2D4375FBAF}" dt="2021-06-22T08:50:09.742" v="600" actId="1076"/>
          <ac:grpSpMkLst>
            <pc:docMk/>
            <pc:sldMk cId="218520005" sldId="2576"/>
            <ac:grpSpMk id="1029" creationId="{4ABD8EE3-1BA3-4B31-8704-5EA383EE3856}"/>
          </ac:grpSpMkLst>
        </pc:grpChg>
        <pc:grpChg chg="add mod">
          <ac:chgData name="Müller, Kurt (SI BP S TSS TR)" userId="e7e82c7e-80c6-42a5-ab71-24588885b7fe" providerId="ADAL" clId="{9FEA2841-5B76-4EDB-8984-1B2D4375FBAF}" dt="2021-06-22T08:50:09.742" v="600" actId="1076"/>
          <ac:grpSpMkLst>
            <pc:docMk/>
            <pc:sldMk cId="218520005" sldId="2576"/>
            <ac:grpSpMk id="1030" creationId="{2CA9236E-499F-4B2E-8F84-1F793AA2F199}"/>
          </ac:grpSpMkLst>
        </pc:grpChg>
        <pc:grpChg chg="add del mod">
          <ac:chgData name="Müller, Kurt (SI BP S TSS TR)" userId="e7e82c7e-80c6-42a5-ab71-24588885b7fe" providerId="ADAL" clId="{9FEA2841-5B76-4EDB-8984-1B2D4375FBAF}" dt="2021-06-22T08:47:18.436" v="571" actId="478"/>
          <ac:grpSpMkLst>
            <pc:docMk/>
            <pc:sldMk cId="218520005" sldId="2576"/>
            <ac:grpSpMk id="1039" creationId="{A3052A73-3CDD-4BA2-A486-66F27EC3ED8D}"/>
          </ac:grpSpMkLst>
        </pc:grpChg>
        <pc:graphicFrameChg chg="add mod modGraphic">
          <ac:chgData name="Müller, Kurt (SI BP S TSS TR)" userId="e7e82c7e-80c6-42a5-ab71-24588885b7fe" providerId="ADAL" clId="{9FEA2841-5B76-4EDB-8984-1B2D4375FBAF}" dt="2021-06-22T08:58:13.817" v="719" actId="14100"/>
          <ac:graphicFrameMkLst>
            <pc:docMk/>
            <pc:sldMk cId="218520005" sldId="2576"/>
            <ac:graphicFrameMk id="1048" creationId="{2B8F322D-9305-4662-A67E-916DED4AEB03}"/>
          </ac:graphicFrameMkLst>
        </pc:graphicFrameChg>
        <pc:picChg chg="del">
          <ac:chgData name="Müller, Kurt (SI BP S TSS TR)" userId="e7e82c7e-80c6-42a5-ab71-24588885b7fe" providerId="ADAL" clId="{9FEA2841-5B76-4EDB-8984-1B2D4375FBAF}" dt="2021-06-22T06:37:51.703" v="377" actId="478"/>
          <ac:picMkLst>
            <pc:docMk/>
            <pc:sldMk cId="218520005" sldId="2576"/>
            <ac:picMk id="6" creationId="{916FE53E-2B5C-4D35-BC61-1C09B314FB64}"/>
          </ac:picMkLst>
        </pc:picChg>
        <pc:picChg chg="del">
          <ac:chgData name="Müller, Kurt (SI BP S TSS TR)" userId="e7e82c7e-80c6-42a5-ab71-24588885b7fe" providerId="ADAL" clId="{9FEA2841-5B76-4EDB-8984-1B2D4375FBAF}" dt="2021-06-22T06:37:51.703" v="377" actId="478"/>
          <ac:picMkLst>
            <pc:docMk/>
            <pc:sldMk cId="218520005" sldId="2576"/>
            <ac:picMk id="12" creationId="{641CF423-A909-4037-861B-5470B5AE2FB1}"/>
          </ac:picMkLst>
        </pc:picChg>
        <pc:picChg chg="del">
          <ac:chgData name="Müller, Kurt (SI BP S TSS TR)" userId="e7e82c7e-80c6-42a5-ab71-24588885b7fe" providerId="ADAL" clId="{9FEA2841-5B76-4EDB-8984-1B2D4375FBAF}" dt="2021-06-22T06:37:51.703" v="377" actId="478"/>
          <ac:picMkLst>
            <pc:docMk/>
            <pc:sldMk cId="218520005" sldId="2576"/>
            <ac:picMk id="44" creationId="{C1F50641-BB71-452D-9467-7F7CB44455BE}"/>
          </ac:picMkLst>
        </pc:picChg>
        <pc:picChg chg="add mod">
          <ac:chgData name="Müller, Kurt (SI BP S TSS TR)" userId="e7e82c7e-80c6-42a5-ab71-24588885b7fe" providerId="ADAL" clId="{9FEA2841-5B76-4EDB-8984-1B2D4375FBAF}" dt="2021-06-22T08:50:38.986" v="610" actId="1076"/>
          <ac:picMkLst>
            <pc:docMk/>
            <pc:sldMk cId="218520005" sldId="2576"/>
            <ac:picMk id="109" creationId="{74CF508A-544C-41D6-9E1F-4013AA2E7F87}"/>
          </ac:picMkLst>
        </pc:picChg>
        <pc:picChg chg="add mod">
          <ac:chgData name="Müller, Kurt (SI BP S TSS TR)" userId="e7e82c7e-80c6-42a5-ab71-24588885b7fe" providerId="ADAL" clId="{9FEA2841-5B76-4EDB-8984-1B2D4375FBAF}" dt="2021-06-23T10:46:28.731" v="773" actId="1076"/>
          <ac:picMkLst>
            <pc:docMk/>
            <pc:sldMk cId="218520005" sldId="2576"/>
            <ac:picMk id="186" creationId="{AA1F9A0C-1963-4335-9CBE-7DF1A48B16F0}"/>
          </ac:picMkLst>
        </pc:picChg>
        <pc:picChg chg="add del mod">
          <ac:chgData name="Müller, Kurt (SI BP S TSS TR)" userId="e7e82c7e-80c6-42a5-ab71-24588885b7fe" providerId="ADAL" clId="{9FEA2841-5B76-4EDB-8984-1B2D4375FBAF}" dt="2021-06-22T08:52:02.873" v="618" actId="478"/>
          <ac:picMkLst>
            <pc:docMk/>
            <pc:sldMk cId="218520005" sldId="2576"/>
            <ac:picMk id="198" creationId="{D710BD34-9A55-4C38-B1EB-702A3A576F60}"/>
          </ac:picMkLst>
        </pc:picChg>
        <pc:picChg chg="add mod">
          <ac:chgData name="Müller, Kurt (SI BP S TSS TR)" userId="e7e82c7e-80c6-42a5-ab71-24588885b7fe" providerId="ADAL" clId="{9FEA2841-5B76-4EDB-8984-1B2D4375FBAF}" dt="2021-06-23T10:46:30.259" v="774" actId="1076"/>
          <ac:picMkLst>
            <pc:docMk/>
            <pc:sldMk cId="218520005" sldId="2576"/>
            <ac:picMk id="276" creationId="{2F99B504-38C4-40EE-9077-41824EAFAEAF}"/>
          </ac:picMkLst>
        </pc:picChg>
        <pc:picChg chg="add mod">
          <ac:chgData name="Müller, Kurt (SI BP S TSS TR)" userId="e7e82c7e-80c6-42a5-ab71-24588885b7fe" providerId="ADAL" clId="{9FEA2841-5B76-4EDB-8984-1B2D4375FBAF}" dt="2021-06-22T08:50:40.881" v="611" actId="1076"/>
          <ac:picMkLst>
            <pc:docMk/>
            <pc:sldMk cId="218520005" sldId="2576"/>
            <ac:picMk id="1026" creationId="{8B27365B-8CD9-4964-A89F-E605EE0BBD1C}"/>
          </ac:picMkLst>
        </pc:picChg>
        <pc:picChg chg="add del mod">
          <ac:chgData name="Müller, Kurt (SI BP S TSS TR)" userId="e7e82c7e-80c6-42a5-ab71-24588885b7fe" providerId="ADAL" clId="{9FEA2841-5B76-4EDB-8984-1B2D4375FBAF}" dt="2021-06-22T08:56:43.743" v="698" actId="478"/>
          <ac:picMkLst>
            <pc:docMk/>
            <pc:sldMk cId="218520005" sldId="2576"/>
            <ac:picMk id="1050" creationId="{04AA1CA0-7FC1-4E56-94D7-0631B0390BD1}"/>
          </ac:picMkLst>
        </pc:picChg>
        <pc:picChg chg="add del mod">
          <ac:chgData name="Müller, Kurt (SI BP S TSS TR)" userId="e7e82c7e-80c6-42a5-ab71-24588885b7fe" providerId="ADAL" clId="{9FEA2841-5B76-4EDB-8984-1B2D4375FBAF}" dt="2021-06-22T08:56:31.775" v="689" actId="478"/>
          <ac:picMkLst>
            <pc:docMk/>
            <pc:sldMk cId="218520005" sldId="2576"/>
            <ac:picMk id="1052" creationId="{11D3C762-DDC9-48DA-9730-97A5188B739A}"/>
          </ac:picMkLst>
        </pc:picChg>
        <pc:picChg chg="add del mod">
          <ac:chgData name="Müller, Kurt (SI BP S TSS TR)" userId="e7e82c7e-80c6-42a5-ab71-24588885b7fe" providerId="ADAL" clId="{9FEA2841-5B76-4EDB-8984-1B2D4375FBAF}" dt="2021-06-22T08:56:18.271" v="680" actId="478"/>
          <ac:picMkLst>
            <pc:docMk/>
            <pc:sldMk cId="218520005" sldId="2576"/>
            <ac:picMk id="1054" creationId="{5DF66504-C805-4FDA-855D-F68C400A0391}"/>
          </ac:picMkLst>
        </pc:picChg>
        <pc:cxnChg chg="add del mod">
          <ac:chgData name="Müller, Kurt (SI BP S TSS TR)" userId="e7e82c7e-80c6-42a5-ab71-24588885b7fe" providerId="ADAL" clId="{9FEA2841-5B76-4EDB-8984-1B2D4375FBAF}" dt="2021-06-22T06:43:39.539" v="414" actId="478"/>
          <ac:cxnSpMkLst>
            <pc:docMk/>
            <pc:sldMk cId="218520005" sldId="2576"/>
            <ac:cxnSpMk id="9" creationId="{A06E32C6-4A50-45F2-AB08-83E6C691F9EF}"/>
          </ac:cxnSpMkLst>
        </pc:cxnChg>
        <pc:cxnChg chg="add del mod">
          <ac:chgData name="Müller, Kurt (SI BP S TSS TR)" userId="e7e82c7e-80c6-42a5-ab71-24588885b7fe" providerId="ADAL" clId="{9FEA2841-5B76-4EDB-8984-1B2D4375FBAF}" dt="2021-06-22T08:50:16.640" v="604" actId="478"/>
          <ac:cxnSpMkLst>
            <pc:docMk/>
            <pc:sldMk cId="218520005" sldId="2576"/>
            <ac:cxnSpMk id="22" creationId="{3EDE449E-9620-4B9D-8A31-54BA63B6925B}"/>
          </ac:cxnSpMkLst>
        </pc:cxnChg>
        <pc:cxnChg chg="add del mod">
          <ac:chgData name="Müller, Kurt (SI BP S TSS TR)" userId="e7e82c7e-80c6-42a5-ab71-24588885b7fe" providerId="ADAL" clId="{9FEA2841-5B76-4EDB-8984-1B2D4375FBAF}" dt="2021-06-22T08:50:16.640" v="604" actId="478"/>
          <ac:cxnSpMkLst>
            <pc:docMk/>
            <pc:sldMk cId="218520005" sldId="2576"/>
            <ac:cxnSpMk id="25" creationId="{26EC6C6A-CBCD-403C-9694-91115629AD58}"/>
          </ac:cxnSpMkLst>
        </pc:cxnChg>
        <pc:cxnChg chg="add del mod">
          <ac:chgData name="Müller, Kurt (SI BP S TSS TR)" userId="e7e82c7e-80c6-42a5-ab71-24588885b7fe" providerId="ADAL" clId="{9FEA2841-5B76-4EDB-8984-1B2D4375FBAF}" dt="2021-06-22T08:50:16.640" v="604" actId="478"/>
          <ac:cxnSpMkLst>
            <pc:docMk/>
            <pc:sldMk cId="218520005" sldId="2576"/>
            <ac:cxnSpMk id="28" creationId="{A5AD6D27-6174-44DA-B56E-9DF33DDDA625}"/>
          </ac:cxnSpMkLst>
        </pc:cxnChg>
        <pc:cxnChg chg="mod">
          <ac:chgData name="Müller, Kurt (SI BP S TSS TR)" userId="e7e82c7e-80c6-42a5-ab71-24588885b7fe" providerId="ADAL" clId="{9FEA2841-5B76-4EDB-8984-1B2D4375FBAF}" dt="2021-06-22T06:40:58.104" v="380"/>
          <ac:cxnSpMkLst>
            <pc:docMk/>
            <pc:sldMk cId="218520005" sldId="2576"/>
            <ac:cxnSpMk id="35" creationId="{B03396BA-6B9E-41AC-A43B-E7F8778A6639}"/>
          </ac:cxnSpMkLst>
        </pc:cxnChg>
        <pc:cxnChg chg="mod">
          <ac:chgData name="Müller, Kurt (SI BP S TSS TR)" userId="e7e82c7e-80c6-42a5-ab71-24588885b7fe" providerId="ADAL" clId="{9FEA2841-5B76-4EDB-8984-1B2D4375FBAF}" dt="2021-06-22T06:40:58.104" v="380"/>
          <ac:cxnSpMkLst>
            <pc:docMk/>
            <pc:sldMk cId="218520005" sldId="2576"/>
            <ac:cxnSpMk id="38" creationId="{A63E5A44-C7C6-43A0-B227-2ECB8AFA8B43}"/>
          </ac:cxnSpMkLst>
        </pc:cxnChg>
        <pc:cxnChg chg="mod">
          <ac:chgData name="Müller, Kurt (SI BP S TSS TR)" userId="e7e82c7e-80c6-42a5-ab71-24588885b7fe" providerId="ADAL" clId="{9FEA2841-5B76-4EDB-8984-1B2D4375FBAF}" dt="2021-06-22T06:40:58.104" v="380"/>
          <ac:cxnSpMkLst>
            <pc:docMk/>
            <pc:sldMk cId="218520005" sldId="2576"/>
            <ac:cxnSpMk id="39" creationId="{4F60699E-E77F-41E1-90F5-2C5D3EF77589}"/>
          </ac:cxnSpMkLst>
        </pc:cxnChg>
        <pc:cxnChg chg="mod">
          <ac:chgData name="Müller, Kurt (SI BP S TSS TR)" userId="e7e82c7e-80c6-42a5-ab71-24588885b7fe" providerId="ADAL" clId="{9FEA2841-5B76-4EDB-8984-1B2D4375FBAF}" dt="2021-06-22T06:40:58.104" v="380"/>
          <ac:cxnSpMkLst>
            <pc:docMk/>
            <pc:sldMk cId="218520005" sldId="2576"/>
            <ac:cxnSpMk id="40" creationId="{48532B12-C062-40EF-A5A7-D2F9A5D502B8}"/>
          </ac:cxnSpMkLst>
        </pc:cxnChg>
        <pc:cxnChg chg="mod">
          <ac:chgData name="Müller, Kurt (SI BP S TSS TR)" userId="e7e82c7e-80c6-42a5-ab71-24588885b7fe" providerId="ADAL" clId="{9FEA2841-5B76-4EDB-8984-1B2D4375FBAF}" dt="2021-06-22T06:40:58.104" v="380"/>
          <ac:cxnSpMkLst>
            <pc:docMk/>
            <pc:sldMk cId="218520005" sldId="2576"/>
            <ac:cxnSpMk id="43" creationId="{128EA25F-6F39-4051-B9E5-CD46182A9DEA}"/>
          </ac:cxnSpMkLst>
        </pc:cxnChg>
        <pc:cxnChg chg="mod">
          <ac:chgData name="Müller, Kurt (SI BP S TSS TR)" userId="e7e82c7e-80c6-42a5-ab71-24588885b7fe" providerId="ADAL" clId="{9FEA2841-5B76-4EDB-8984-1B2D4375FBAF}" dt="2021-06-22T06:40:58.104" v="380"/>
          <ac:cxnSpMkLst>
            <pc:docMk/>
            <pc:sldMk cId="218520005" sldId="2576"/>
            <ac:cxnSpMk id="51" creationId="{73A422C8-5F61-4FAB-8C7B-CAF64AC902F8}"/>
          </ac:cxnSpMkLst>
        </pc:cxnChg>
        <pc:cxnChg chg="mod">
          <ac:chgData name="Müller, Kurt (SI BP S TSS TR)" userId="e7e82c7e-80c6-42a5-ab71-24588885b7fe" providerId="ADAL" clId="{9FEA2841-5B76-4EDB-8984-1B2D4375FBAF}" dt="2021-06-22T06:40:58.104" v="380"/>
          <ac:cxnSpMkLst>
            <pc:docMk/>
            <pc:sldMk cId="218520005" sldId="2576"/>
            <ac:cxnSpMk id="55" creationId="{5AF9F8C4-22CD-4E4A-A507-D362ED83FA31}"/>
          </ac:cxnSpMkLst>
        </pc:cxnChg>
        <pc:cxnChg chg="mod">
          <ac:chgData name="Müller, Kurt (SI BP S TSS TR)" userId="e7e82c7e-80c6-42a5-ab71-24588885b7fe" providerId="ADAL" clId="{9FEA2841-5B76-4EDB-8984-1B2D4375FBAF}" dt="2021-06-22T06:40:58.104" v="380"/>
          <ac:cxnSpMkLst>
            <pc:docMk/>
            <pc:sldMk cId="218520005" sldId="2576"/>
            <ac:cxnSpMk id="56" creationId="{0959BE66-D488-4490-873E-A9793A10A409}"/>
          </ac:cxnSpMkLst>
        </pc:cxnChg>
        <pc:cxnChg chg="mod">
          <ac:chgData name="Müller, Kurt (SI BP S TSS TR)" userId="e7e82c7e-80c6-42a5-ab71-24588885b7fe" providerId="ADAL" clId="{9FEA2841-5B76-4EDB-8984-1B2D4375FBAF}" dt="2021-06-22T06:40:58.104" v="380"/>
          <ac:cxnSpMkLst>
            <pc:docMk/>
            <pc:sldMk cId="218520005" sldId="2576"/>
            <ac:cxnSpMk id="58" creationId="{D20C1D8A-051B-485D-9D97-BC80F46DB556}"/>
          </ac:cxnSpMkLst>
        </pc:cxnChg>
        <pc:cxnChg chg="mod">
          <ac:chgData name="Müller, Kurt (SI BP S TSS TR)" userId="e7e82c7e-80c6-42a5-ab71-24588885b7fe" providerId="ADAL" clId="{9FEA2841-5B76-4EDB-8984-1B2D4375FBAF}" dt="2021-06-22T06:40:58.104" v="380"/>
          <ac:cxnSpMkLst>
            <pc:docMk/>
            <pc:sldMk cId="218520005" sldId="2576"/>
            <ac:cxnSpMk id="59" creationId="{224D1D98-222E-4F13-BE29-B33F56B19B57}"/>
          </ac:cxnSpMkLst>
        </pc:cxnChg>
        <pc:cxnChg chg="mod">
          <ac:chgData name="Müller, Kurt (SI BP S TSS TR)" userId="e7e82c7e-80c6-42a5-ab71-24588885b7fe" providerId="ADAL" clId="{9FEA2841-5B76-4EDB-8984-1B2D4375FBAF}" dt="2021-06-22T06:40:58.104" v="380"/>
          <ac:cxnSpMkLst>
            <pc:docMk/>
            <pc:sldMk cId="218520005" sldId="2576"/>
            <ac:cxnSpMk id="60" creationId="{F936C3A2-E184-4E2B-8A8D-3B156EBA410A}"/>
          </ac:cxnSpMkLst>
        </pc:cxnChg>
        <pc:cxnChg chg="add del mod">
          <ac:chgData name="Müller, Kurt (SI BP S TSS TR)" userId="e7e82c7e-80c6-42a5-ab71-24588885b7fe" providerId="ADAL" clId="{9FEA2841-5B76-4EDB-8984-1B2D4375FBAF}" dt="2021-06-22T08:50:16.640" v="604" actId="478"/>
          <ac:cxnSpMkLst>
            <pc:docMk/>
            <pc:sldMk cId="218520005" sldId="2576"/>
            <ac:cxnSpMk id="61" creationId="{BA1F2D3A-E75A-41ED-B5FF-391A99ACE302}"/>
          </ac:cxnSpMkLst>
        </pc:cxnChg>
        <pc:cxnChg chg="add del mod">
          <ac:chgData name="Müller, Kurt (SI BP S TSS TR)" userId="e7e82c7e-80c6-42a5-ab71-24588885b7fe" providerId="ADAL" clId="{9FEA2841-5B76-4EDB-8984-1B2D4375FBAF}" dt="2021-06-22T08:50:16.640" v="604" actId="478"/>
          <ac:cxnSpMkLst>
            <pc:docMk/>
            <pc:sldMk cId="218520005" sldId="2576"/>
            <ac:cxnSpMk id="62" creationId="{0CF6EE67-48C1-4360-A746-B95AF5BD8F72}"/>
          </ac:cxnSpMkLst>
        </pc:cxnChg>
        <pc:cxnChg chg="add del mod">
          <ac:chgData name="Müller, Kurt (SI BP S TSS TR)" userId="e7e82c7e-80c6-42a5-ab71-24588885b7fe" providerId="ADAL" clId="{9FEA2841-5B76-4EDB-8984-1B2D4375FBAF}" dt="2021-06-22T08:50:16.640" v="604" actId="478"/>
          <ac:cxnSpMkLst>
            <pc:docMk/>
            <pc:sldMk cId="218520005" sldId="2576"/>
            <ac:cxnSpMk id="63" creationId="{87F8CF5E-5D52-4ECA-81C5-B67F3C1F4BF7}"/>
          </ac:cxnSpMkLst>
        </pc:cxnChg>
        <pc:cxnChg chg="add del mod">
          <ac:chgData name="Müller, Kurt (SI BP S TSS TR)" userId="e7e82c7e-80c6-42a5-ab71-24588885b7fe" providerId="ADAL" clId="{9FEA2841-5B76-4EDB-8984-1B2D4375FBAF}" dt="2021-06-22T08:50:16.640" v="604" actId="478"/>
          <ac:cxnSpMkLst>
            <pc:docMk/>
            <pc:sldMk cId="218520005" sldId="2576"/>
            <ac:cxnSpMk id="64" creationId="{AA0D5A3E-D8F9-4F30-9898-8E872C203DD0}"/>
          </ac:cxnSpMkLst>
        </pc:cxnChg>
        <pc:cxnChg chg="add del mod">
          <ac:chgData name="Müller, Kurt (SI BP S TSS TR)" userId="e7e82c7e-80c6-42a5-ab71-24588885b7fe" providerId="ADAL" clId="{9FEA2841-5B76-4EDB-8984-1B2D4375FBAF}" dt="2021-06-22T08:50:16.640" v="604" actId="478"/>
          <ac:cxnSpMkLst>
            <pc:docMk/>
            <pc:sldMk cId="218520005" sldId="2576"/>
            <ac:cxnSpMk id="65" creationId="{A31008A4-BF89-45A9-BC04-3BE4A644BBF4}"/>
          </ac:cxnSpMkLst>
        </pc:cxnChg>
        <pc:cxnChg chg="add del mod">
          <ac:chgData name="Müller, Kurt (SI BP S TSS TR)" userId="e7e82c7e-80c6-42a5-ab71-24588885b7fe" providerId="ADAL" clId="{9FEA2841-5B76-4EDB-8984-1B2D4375FBAF}" dt="2021-06-22T07:04:46.392" v="525" actId="478"/>
          <ac:cxnSpMkLst>
            <pc:docMk/>
            <pc:sldMk cId="218520005" sldId="2576"/>
            <ac:cxnSpMk id="68" creationId="{EE76C440-2A2B-4C49-A1D9-67B807590C87}"/>
          </ac:cxnSpMkLst>
        </pc:cxnChg>
        <pc:cxnChg chg="add del mod">
          <ac:chgData name="Müller, Kurt (SI BP S TSS TR)" userId="e7e82c7e-80c6-42a5-ab71-24588885b7fe" providerId="ADAL" clId="{9FEA2841-5B76-4EDB-8984-1B2D4375FBAF}" dt="2021-06-22T08:50:16.640" v="604" actId="478"/>
          <ac:cxnSpMkLst>
            <pc:docMk/>
            <pc:sldMk cId="218520005" sldId="2576"/>
            <ac:cxnSpMk id="71" creationId="{52146389-12E1-45D9-B715-21FF79201F1E}"/>
          </ac:cxnSpMkLst>
        </pc:cxnChg>
        <pc:cxnChg chg="add mod">
          <ac:chgData name="Müller, Kurt (SI BP S TSS TR)" userId="e7e82c7e-80c6-42a5-ab71-24588885b7fe" providerId="ADAL" clId="{9FEA2841-5B76-4EDB-8984-1B2D4375FBAF}" dt="2021-06-22T08:47:18.436" v="571" actId="478"/>
          <ac:cxnSpMkLst>
            <pc:docMk/>
            <pc:sldMk cId="218520005" sldId="2576"/>
            <ac:cxnSpMk id="72" creationId="{4D307B56-C823-4203-BB1D-EBDBE445C761}"/>
          </ac:cxnSpMkLst>
        </pc:cxnChg>
        <pc:cxnChg chg="del mod topLvl">
          <ac:chgData name="Müller, Kurt (SI BP S TSS TR)" userId="e7e82c7e-80c6-42a5-ab71-24588885b7fe" providerId="ADAL" clId="{9FEA2841-5B76-4EDB-8984-1B2D4375FBAF}" dt="2021-06-22T08:50:16.640" v="604" actId="478"/>
          <ac:cxnSpMkLst>
            <pc:docMk/>
            <pc:sldMk cId="218520005" sldId="2576"/>
            <ac:cxnSpMk id="77" creationId="{57E00046-975E-44F2-B139-F095979181E4}"/>
          </ac:cxnSpMkLst>
        </pc:cxnChg>
        <pc:cxnChg chg="mod">
          <ac:chgData name="Müller, Kurt (SI BP S TSS TR)" userId="e7e82c7e-80c6-42a5-ab71-24588885b7fe" providerId="ADAL" clId="{9FEA2841-5B76-4EDB-8984-1B2D4375FBAF}" dt="2021-06-22T07:05:13.344" v="532" actId="165"/>
          <ac:cxnSpMkLst>
            <pc:docMk/>
            <pc:sldMk cId="218520005" sldId="2576"/>
            <ac:cxnSpMk id="80" creationId="{A4404B2B-4FA0-4B5D-83B6-D231BB617134}"/>
          </ac:cxnSpMkLst>
        </pc:cxnChg>
        <pc:cxnChg chg="mod">
          <ac:chgData name="Müller, Kurt (SI BP S TSS TR)" userId="e7e82c7e-80c6-42a5-ab71-24588885b7fe" providerId="ADAL" clId="{9FEA2841-5B76-4EDB-8984-1B2D4375FBAF}" dt="2021-06-22T07:05:13.344" v="532" actId="165"/>
          <ac:cxnSpMkLst>
            <pc:docMk/>
            <pc:sldMk cId="218520005" sldId="2576"/>
            <ac:cxnSpMk id="81" creationId="{EFB94AAF-E656-46BC-A2A9-0C8AA7C29A6F}"/>
          </ac:cxnSpMkLst>
        </pc:cxnChg>
        <pc:cxnChg chg="mod">
          <ac:chgData name="Müller, Kurt (SI BP S TSS TR)" userId="e7e82c7e-80c6-42a5-ab71-24588885b7fe" providerId="ADAL" clId="{9FEA2841-5B76-4EDB-8984-1B2D4375FBAF}" dt="2021-06-22T07:05:13.344" v="532" actId="165"/>
          <ac:cxnSpMkLst>
            <pc:docMk/>
            <pc:sldMk cId="218520005" sldId="2576"/>
            <ac:cxnSpMk id="82" creationId="{17BD3B5B-C9BE-4C01-A137-946801340F5C}"/>
          </ac:cxnSpMkLst>
        </pc:cxnChg>
        <pc:cxnChg chg="del mod topLvl">
          <ac:chgData name="Müller, Kurt (SI BP S TSS TR)" userId="e7e82c7e-80c6-42a5-ab71-24588885b7fe" providerId="ADAL" clId="{9FEA2841-5B76-4EDB-8984-1B2D4375FBAF}" dt="2021-06-22T08:50:16.640" v="604" actId="478"/>
          <ac:cxnSpMkLst>
            <pc:docMk/>
            <pc:sldMk cId="218520005" sldId="2576"/>
            <ac:cxnSpMk id="85" creationId="{0200C692-A732-4006-9D8D-FEC9C051DD05}"/>
          </ac:cxnSpMkLst>
        </pc:cxnChg>
        <pc:cxnChg chg="add del mod">
          <ac:chgData name="Müller, Kurt (SI BP S TSS TR)" userId="e7e82c7e-80c6-42a5-ab71-24588885b7fe" providerId="ADAL" clId="{9FEA2841-5B76-4EDB-8984-1B2D4375FBAF}" dt="2021-06-22T08:50:16.640" v="604" actId="478"/>
          <ac:cxnSpMkLst>
            <pc:docMk/>
            <pc:sldMk cId="218520005" sldId="2576"/>
            <ac:cxnSpMk id="87" creationId="{DF800FE7-DA37-4991-B8AD-014A4ACACEFA}"/>
          </ac:cxnSpMkLst>
        </pc:cxnChg>
        <pc:cxnChg chg="del mod topLvl">
          <ac:chgData name="Müller, Kurt (SI BP S TSS TR)" userId="e7e82c7e-80c6-42a5-ab71-24588885b7fe" providerId="ADAL" clId="{9FEA2841-5B76-4EDB-8984-1B2D4375FBAF}" dt="2021-06-22T06:42:36.835" v="403" actId="478"/>
          <ac:cxnSpMkLst>
            <pc:docMk/>
            <pc:sldMk cId="218520005" sldId="2576"/>
            <ac:cxnSpMk id="91" creationId="{0BFB1703-DE72-4D38-822E-F4BA4F521B35}"/>
          </ac:cxnSpMkLst>
        </pc:cxnChg>
        <pc:cxnChg chg="mod">
          <ac:chgData name="Müller, Kurt (SI BP S TSS TR)" userId="e7e82c7e-80c6-42a5-ab71-24588885b7fe" providerId="ADAL" clId="{9FEA2841-5B76-4EDB-8984-1B2D4375FBAF}" dt="2021-06-22T06:53:33.493" v="486" actId="165"/>
          <ac:cxnSpMkLst>
            <pc:docMk/>
            <pc:sldMk cId="218520005" sldId="2576"/>
            <ac:cxnSpMk id="95" creationId="{49CD0C1F-BE98-458F-B74D-C31A667CC815}"/>
          </ac:cxnSpMkLst>
        </pc:cxnChg>
        <pc:cxnChg chg="del mod">
          <ac:chgData name="Müller, Kurt (SI BP S TSS TR)" userId="e7e82c7e-80c6-42a5-ab71-24588885b7fe" providerId="ADAL" clId="{9FEA2841-5B76-4EDB-8984-1B2D4375FBAF}" dt="2021-06-22T06:42:44.822" v="405" actId="478"/>
          <ac:cxnSpMkLst>
            <pc:docMk/>
            <pc:sldMk cId="218520005" sldId="2576"/>
            <ac:cxnSpMk id="96" creationId="{09871874-41C2-4619-B2BB-F24CFD4FEEC4}"/>
          </ac:cxnSpMkLst>
        </pc:cxnChg>
        <pc:cxnChg chg="mod">
          <ac:chgData name="Müller, Kurt (SI BP S TSS TR)" userId="e7e82c7e-80c6-42a5-ab71-24588885b7fe" providerId="ADAL" clId="{9FEA2841-5B76-4EDB-8984-1B2D4375FBAF}" dt="2021-06-22T06:52:54.126" v="482" actId="1076"/>
          <ac:cxnSpMkLst>
            <pc:docMk/>
            <pc:sldMk cId="218520005" sldId="2576"/>
            <ac:cxnSpMk id="98" creationId="{676F9653-2C37-4E6C-8042-30EDA94351E5}"/>
          </ac:cxnSpMkLst>
        </pc:cxnChg>
        <pc:cxnChg chg="mod">
          <ac:chgData name="Müller, Kurt (SI BP S TSS TR)" userId="e7e82c7e-80c6-42a5-ab71-24588885b7fe" providerId="ADAL" clId="{9FEA2841-5B76-4EDB-8984-1B2D4375FBAF}" dt="2021-06-22T06:52:54.126" v="482" actId="1076"/>
          <ac:cxnSpMkLst>
            <pc:docMk/>
            <pc:sldMk cId="218520005" sldId="2576"/>
            <ac:cxnSpMk id="99" creationId="{0EEDE243-3E1B-490C-97A7-FAAF2B6F6586}"/>
          </ac:cxnSpMkLst>
        </pc:cxnChg>
        <pc:cxnChg chg="mod">
          <ac:chgData name="Müller, Kurt (SI BP S TSS TR)" userId="e7e82c7e-80c6-42a5-ab71-24588885b7fe" providerId="ADAL" clId="{9FEA2841-5B76-4EDB-8984-1B2D4375FBAF}" dt="2021-06-22T06:52:54.126" v="482" actId="1076"/>
          <ac:cxnSpMkLst>
            <pc:docMk/>
            <pc:sldMk cId="218520005" sldId="2576"/>
            <ac:cxnSpMk id="100" creationId="{A8E7D9E0-DB8F-4CE5-A265-BE5072411152}"/>
          </ac:cxnSpMkLst>
        </pc:cxnChg>
        <pc:cxnChg chg="mod">
          <ac:chgData name="Müller, Kurt (SI BP S TSS TR)" userId="e7e82c7e-80c6-42a5-ab71-24588885b7fe" providerId="ADAL" clId="{9FEA2841-5B76-4EDB-8984-1B2D4375FBAF}" dt="2021-06-22T06:53:33.493" v="486" actId="165"/>
          <ac:cxnSpMkLst>
            <pc:docMk/>
            <pc:sldMk cId="218520005" sldId="2576"/>
            <ac:cxnSpMk id="103" creationId="{D49CC82B-51AF-4253-AA2F-79C4B18B752E}"/>
          </ac:cxnSpMkLst>
        </pc:cxnChg>
        <pc:cxnChg chg="mod">
          <ac:chgData name="Müller, Kurt (SI BP S TSS TR)" userId="e7e82c7e-80c6-42a5-ab71-24588885b7fe" providerId="ADAL" clId="{9FEA2841-5B76-4EDB-8984-1B2D4375FBAF}" dt="2021-06-22T06:53:33.493" v="486" actId="165"/>
          <ac:cxnSpMkLst>
            <pc:docMk/>
            <pc:sldMk cId="218520005" sldId="2576"/>
            <ac:cxnSpMk id="104" creationId="{25B99AD1-AD33-4622-80E2-6B3358774FC7}"/>
          </ac:cxnSpMkLst>
        </pc:cxnChg>
        <pc:cxnChg chg="add mod">
          <ac:chgData name="Müller, Kurt (SI BP S TSS TR)" userId="e7e82c7e-80c6-42a5-ab71-24588885b7fe" providerId="ADAL" clId="{9FEA2841-5B76-4EDB-8984-1B2D4375FBAF}" dt="2021-06-22T06:53:52.068" v="501" actId="1038"/>
          <ac:cxnSpMkLst>
            <pc:docMk/>
            <pc:sldMk cId="218520005" sldId="2576"/>
            <ac:cxnSpMk id="105" creationId="{08A4291E-B24E-4B41-BFFB-135E11C72648}"/>
          </ac:cxnSpMkLst>
        </pc:cxnChg>
        <pc:cxnChg chg="add mod">
          <ac:chgData name="Müller, Kurt (SI BP S TSS TR)" userId="e7e82c7e-80c6-42a5-ab71-24588885b7fe" providerId="ADAL" clId="{9FEA2841-5B76-4EDB-8984-1B2D4375FBAF}" dt="2021-06-22T06:53:52.068" v="501" actId="1038"/>
          <ac:cxnSpMkLst>
            <pc:docMk/>
            <pc:sldMk cId="218520005" sldId="2576"/>
            <ac:cxnSpMk id="106" creationId="{40CEDD4E-A936-446B-923E-9934A266E7E6}"/>
          </ac:cxnSpMkLst>
        </pc:cxnChg>
        <pc:cxnChg chg="add mod topLvl">
          <ac:chgData name="Müller, Kurt (SI BP S TSS TR)" userId="e7e82c7e-80c6-42a5-ab71-24588885b7fe" providerId="ADAL" clId="{9FEA2841-5B76-4EDB-8984-1B2D4375FBAF}" dt="2021-06-22T06:54:26.854" v="509" actId="164"/>
          <ac:cxnSpMkLst>
            <pc:docMk/>
            <pc:sldMk cId="218520005" sldId="2576"/>
            <ac:cxnSpMk id="107" creationId="{FA5A95D5-14C8-456A-B5BE-59DAF268A9BA}"/>
          </ac:cxnSpMkLst>
        </pc:cxnChg>
        <pc:cxnChg chg="add mod">
          <ac:chgData name="Müller, Kurt (SI BP S TSS TR)" userId="e7e82c7e-80c6-42a5-ab71-24588885b7fe" providerId="ADAL" clId="{9FEA2841-5B76-4EDB-8984-1B2D4375FBAF}" dt="2021-06-23T10:45:44.511" v="765" actId="1076"/>
          <ac:cxnSpMkLst>
            <pc:docMk/>
            <pc:sldMk cId="218520005" sldId="2576"/>
            <ac:cxnSpMk id="112" creationId="{3B5DB2A6-A4F6-41B5-93D5-D339C358EEFC}"/>
          </ac:cxnSpMkLst>
        </pc:cxnChg>
        <pc:cxnChg chg="add mod">
          <ac:chgData name="Müller, Kurt (SI BP S TSS TR)" userId="e7e82c7e-80c6-42a5-ab71-24588885b7fe" providerId="ADAL" clId="{9FEA2841-5B76-4EDB-8984-1B2D4375FBAF}" dt="2021-06-23T10:45:44.511" v="765" actId="1076"/>
          <ac:cxnSpMkLst>
            <pc:docMk/>
            <pc:sldMk cId="218520005" sldId="2576"/>
            <ac:cxnSpMk id="115" creationId="{324D32CF-9913-4CC5-A672-D92FEDAA6B7B}"/>
          </ac:cxnSpMkLst>
        </pc:cxnChg>
        <pc:cxnChg chg="add mod">
          <ac:chgData name="Müller, Kurt (SI BP S TSS TR)" userId="e7e82c7e-80c6-42a5-ab71-24588885b7fe" providerId="ADAL" clId="{9FEA2841-5B76-4EDB-8984-1B2D4375FBAF}" dt="2021-06-22T08:50:09.742" v="600" actId="1076"/>
          <ac:cxnSpMkLst>
            <pc:docMk/>
            <pc:sldMk cId="218520005" sldId="2576"/>
            <ac:cxnSpMk id="122" creationId="{C3086CB0-065E-48E4-B87A-2BE477F02150}"/>
          </ac:cxnSpMkLst>
        </pc:cxnChg>
        <pc:cxnChg chg="del mod">
          <ac:chgData name="Müller, Kurt (SI BP S TSS TR)" userId="e7e82c7e-80c6-42a5-ab71-24588885b7fe" providerId="ADAL" clId="{9FEA2841-5B76-4EDB-8984-1B2D4375FBAF}" dt="2021-06-22T06:50:13.896" v="452" actId="478"/>
          <ac:cxnSpMkLst>
            <pc:docMk/>
            <pc:sldMk cId="218520005" sldId="2576"/>
            <ac:cxnSpMk id="126" creationId="{8631D12C-AAD5-4D01-8B44-D92D77613E73}"/>
          </ac:cxnSpMkLst>
        </pc:cxnChg>
        <pc:cxnChg chg="del mod">
          <ac:chgData name="Müller, Kurt (SI BP S TSS TR)" userId="e7e82c7e-80c6-42a5-ab71-24588885b7fe" providerId="ADAL" clId="{9FEA2841-5B76-4EDB-8984-1B2D4375FBAF}" dt="2021-06-22T06:50:15.689" v="453" actId="478"/>
          <ac:cxnSpMkLst>
            <pc:docMk/>
            <pc:sldMk cId="218520005" sldId="2576"/>
            <ac:cxnSpMk id="128" creationId="{187DE3CE-72E8-428C-B2B0-E738043F13D4}"/>
          </ac:cxnSpMkLst>
        </pc:cxnChg>
        <pc:cxnChg chg="add mod">
          <ac:chgData name="Müller, Kurt (SI BP S TSS TR)" userId="e7e82c7e-80c6-42a5-ab71-24588885b7fe" providerId="ADAL" clId="{9FEA2841-5B76-4EDB-8984-1B2D4375FBAF}" dt="2021-06-22T08:50:09.742" v="600" actId="1076"/>
          <ac:cxnSpMkLst>
            <pc:docMk/>
            <pc:sldMk cId="218520005" sldId="2576"/>
            <ac:cxnSpMk id="132" creationId="{2998C113-5DC4-4F08-81FC-480AF9B2913A}"/>
          </ac:cxnSpMkLst>
        </pc:cxnChg>
        <pc:cxnChg chg="mod">
          <ac:chgData name="Müller, Kurt (SI BP S TSS TR)" userId="e7e82c7e-80c6-42a5-ab71-24588885b7fe" providerId="ADAL" clId="{9FEA2841-5B76-4EDB-8984-1B2D4375FBAF}" dt="2021-06-22T06:55:10.205" v="518" actId="1076"/>
          <ac:cxnSpMkLst>
            <pc:docMk/>
            <pc:sldMk cId="218520005" sldId="2576"/>
            <ac:cxnSpMk id="141" creationId="{1002319D-AB75-4C3F-ACC9-8534AFF40BCB}"/>
          </ac:cxnSpMkLst>
        </pc:cxnChg>
        <pc:cxnChg chg="mod">
          <ac:chgData name="Müller, Kurt (SI BP S TSS TR)" userId="e7e82c7e-80c6-42a5-ab71-24588885b7fe" providerId="ADAL" clId="{9FEA2841-5B76-4EDB-8984-1B2D4375FBAF}" dt="2021-06-22T06:55:10.205" v="518" actId="1076"/>
          <ac:cxnSpMkLst>
            <pc:docMk/>
            <pc:sldMk cId="218520005" sldId="2576"/>
            <ac:cxnSpMk id="142" creationId="{DFC8259C-5A98-4430-A37A-E0DA1F1EA8B7}"/>
          </ac:cxnSpMkLst>
        </pc:cxnChg>
        <pc:cxnChg chg="add del mod">
          <ac:chgData name="Müller, Kurt (SI BP S TSS TR)" userId="e7e82c7e-80c6-42a5-ab71-24588885b7fe" providerId="ADAL" clId="{9FEA2841-5B76-4EDB-8984-1B2D4375FBAF}" dt="2021-06-22T06:54:37.757" v="511" actId="478"/>
          <ac:cxnSpMkLst>
            <pc:docMk/>
            <pc:sldMk cId="218520005" sldId="2576"/>
            <ac:cxnSpMk id="143" creationId="{07962DC0-EF0A-4F63-8538-12C68832BA4C}"/>
          </ac:cxnSpMkLst>
        </pc:cxnChg>
        <pc:cxnChg chg="mod">
          <ac:chgData name="Müller, Kurt (SI BP S TSS TR)" userId="e7e82c7e-80c6-42a5-ab71-24588885b7fe" providerId="ADAL" clId="{9FEA2841-5B76-4EDB-8984-1B2D4375FBAF}" dt="2021-06-22T07:09:01.666" v="553" actId="1582"/>
          <ac:cxnSpMkLst>
            <pc:docMk/>
            <pc:sldMk cId="218520005" sldId="2576"/>
            <ac:cxnSpMk id="157" creationId="{CFD3BD33-112E-4897-8115-A4D5D69167B3}"/>
          </ac:cxnSpMkLst>
        </pc:cxnChg>
        <pc:cxnChg chg="add mod">
          <ac:chgData name="Müller, Kurt (SI BP S TSS TR)" userId="e7e82c7e-80c6-42a5-ab71-24588885b7fe" providerId="ADAL" clId="{9FEA2841-5B76-4EDB-8984-1B2D4375FBAF}" dt="2021-06-22T08:50:09.742" v="600" actId="1076"/>
          <ac:cxnSpMkLst>
            <pc:docMk/>
            <pc:sldMk cId="218520005" sldId="2576"/>
            <ac:cxnSpMk id="165" creationId="{1F45ED20-E096-493E-9D0F-779043EDFCA7}"/>
          </ac:cxnSpMkLst>
        </pc:cxnChg>
        <pc:cxnChg chg="add mod">
          <ac:chgData name="Müller, Kurt (SI BP S TSS TR)" userId="e7e82c7e-80c6-42a5-ab71-24588885b7fe" providerId="ADAL" clId="{9FEA2841-5B76-4EDB-8984-1B2D4375FBAF}" dt="2021-06-22T08:50:09.742" v="600" actId="1076"/>
          <ac:cxnSpMkLst>
            <pc:docMk/>
            <pc:sldMk cId="218520005" sldId="2576"/>
            <ac:cxnSpMk id="168" creationId="{93B3406C-91EB-45F5-B154-11DDA4E55F5E}"/>
          </ac:cxnSpMkLst>
        </pc:cxnChg>
        <pc:cxnChg chg="add mod">
          <ac:chgData name="Müller, Kurt (SI BP S TSS TR)" userId="e7e82c7e-80c6-42a5-ab71-24588885b7fe" providerId="ADAL" clId="{9FEA2841-5B76-4EDB-8984-1B2D4375FBAF}" dt="2021-06-22T08:50:09.742" v="600" actId="1076"/>
          <ac:cxnSpMkLst>
            <pc:docMk/>
            <pc:sldMk cId="218520005" sldId="2576"/>
            <ac:cxnSpMk id="169" creationId="{75EF1636-16D8-4767-ACFE-A1710990DF42}"/>
          </ac:cxnSpMkLst>
        </pc:cxnChg>
        <pc:cxnChg chg="mod">
          <ac:chgData name="Müller, Kurt (SI BP S TSS TR)" userId="e7e82c7e-80c6-42a5-ab71-24588885b7fe" providerId="ADAL" clId="{9FEA2841-5B76-4EDB-8984-1B2D4375FBAF}" dt="2021-06-22T08:47:13.372" v="569" actId="571"/>
          <ac:cxnSpMkLst>
            <pc:docMk/>
            <pc:sldMk cId="218520005" sldId="2576"/>
            <ac:cxnSpMk id="171" creationId="{1EF0704A-ED51-4854-ACA0-87D661D5AB08}"/>
          </ac:cxnSpMkLst>
        </pc:cxnChg>
        <pc:cxnChg chg="add mod">
          <ac:chgData name="Müller, Kurt (SI BP S TSS TR)" userId="e7e82c7e-80c6-42a5-ab71-24588885b7fe" providerId="ADAL" clId="{9FEA2841-5B76-4EDB-8984-1B2D4375FBAF}" dt="2021-06-22T08:50:09.742" v="600" actId="1076"/>
          <ac:cxnSpMkLst>
            <pc:docMk/>
            <pc:sldMk cId="218520005" sldId="2576"/>
            <ac:cxnSpMk id="176" creationId="{7900CF1E-DE9C-45F4-9C20-93C7623C8BA9}"/>
          </ac:cxnSpMkLst>
        </pc:cxnChg>
        <pc:cxnChg chg="add mod">
          <ac:chgData name="Müller, Kurt (SI BP S TSS TR)" userId="e7e82c7e-80c6-42a5-ab71-24588885b7fe" providerId="ADAL" clId="{9FEA2841-5B76-4EDB-8984-1B2D4375FBAF}" dt="2021-06-22T08:50:09.742" v="600" actId="1076"/>
          <ac:cxnSpMkLst>
            <pc:docMk/>
            <pc:sldMk cId="218520005" sldId="2576"/>
            <ac:cxnSpMk id="180" creationId="{33A81750-8257-451E-8B49-4236E678C0D1}"/>
          </ac:cxnSpMkLst>
        </pc:cxnChg>
        <pc:cxnChg chg="mod">
          <ac:chgData name="Müller, Kurt (SI BP S TSS TR)" userId="e7e82c7e-80c6-42a5-ab71-24588885b7fe" providerId="ADAL" clId="{9FEA2841-5B76-4EDB-8984-1B2D4375FBAF}" dt="2021-06-22T08:49:44.922" v="597" actId="688"/>
          <ac:cxnSpMkLst>
            <pc:docMk/>
            <pc:sldMk cId="218520005" sldId="2576"/>
            <ac:cxnSpMk id="183" creationId="{5C29F3D5-FD5A-4A01-ADA7-2F4057003876}"/>
          </ac:cxnSpMkLst>
        </pc:cxnChg>
        <pc:cxnChg chg="mod">
          <ac:chgData name="Müller, Kurt (SI BP S TSS TR)" userId="e7e82c7e-80c6-42a5-ab71-24588885b7fe" providerId="ADAL" clId="{9FEA2841-5B76-4EDB-8984-1B2D4375FBAF}" dt="2021-06-22T08:49:44.922" v="597" actId="688"/>
          <ac:cxnSpMkLst>
            <pc:docMk/>
            <pc:sldMk cId="218520005" sldId="2576"/>
            <ac:cxnSpMk id="184" creationId="{2824ED25-AF9B-470D-AF3D-0BF359CC7156}"/>
          </ac:cxnSpMkLst>
        </pc:cxnChg>
        <pc:cxnChg chg="del mod topLvl">
          <ac:chgData name="Müller, Kurt (SI BP S TSS TR)" userId="e7e82c7e-80c6-42a5-ab71-24588885b7fe" providerId="ADAL" clId="{9FEA2841-5B76-4EDB-8984-1B2D4375FBAF}" dt="2021-06-22T08:57:22.911" v="705" actId="478"/>
          <ac:cxnSpMkLst>
            <pc:docMk/>
            <pc:sldMk cId="218520005" sldId="2576"/>
            <ac:cxnSpMk id="227" creationId="{BC899EFE-336F-4A24-AD72-359847668E4A}"/>
          </ac:cxnSpMkLst>
        </pc:cxnChg>
        <pc:cxnChg chg="del mod topLvl">
          <ac:chgData name="Müller, Kurt (SI BP S TSS TR)" userId="e7e82c7e-80c6-42a5-ab71-24588885b7fe" providerId="ADAL" clId="{9FEA2841-5B76-4EDB-8984-1B2D4375FBAF}" dt="2021-06-22T08:57:29.415" v="709" actId="478"/>
          <ac:cxnSpMkLst>
            <pc:docMk/>
            <pc:sldMk cId="218520005" sldId="2576"/>
            <ac:cxnSpMk id="228" creationId="{F096DEEB-FD72-4613-B466-A2336D3F230A}"/>
          </ac:cxnSpMkLst>
        </pc:cxnChg>
        <pc:cxnChg chg="del mod topLvl">
          <ac:chgData name="Müller, Kurt (SI BP S TSS TR)" userId="e7e82c7e-80c6-42a5-ab71-24588885b7fe" providerId="ADAL" clId="{9FEA2841-5B76-4EDB-8984-1B2D4375FBAF}" dt="2021-06-22T08:57:28.415" v="708" actId="478"/>
          <ac:cxnSpMkLst>
            <pc:docMk/>
            <pc:sldMk cId="218520005" sldId="2576"/>
            <ac:cxnSpMk id="229" creationId="{C565EA8A-5E1F-4624-A093-3F7FD3F48676}"/>
          </ac:cxnSpMkLst>
        </pc:cxnChg>
        <pc:cxnChg chg="del mod topLvl">
          <ac:chgData name="Müller, Kurt (SI BP S TSS TR)" userId="e7e82c7e-80c6-42a5-ab71-24588885b7fe" providerId="ADAL" clId="{9FEA2841-5B76-4EDB-8984-1B2D4375FBAF}" dt="2021-06-22T08:57:27.095" v="707" actId="478"/>
          <ac:cxnSpMkLst>
            <pc:docMk/>
            <pc:sldMk cId="218520005" sldId="2576"/>
            <ac:cxnSpMk id="230" creationId="{2DFE3B44-2545-42DF-A218-8E4B5456FD4F}"/>
          </ac:cxnSpMkLst>
        </pc:cxnChg>
        <pc:cxnChg chg="mod">
          <ac:chgData name="Müller, Kurt (SI BP S TSS TR)" userId="e7e82c7e-80c6-42a5-ab71-24588885b7fe" providerId="ADAL" clId="{9FEA2841-5B76-4EDB-8984-1B2D4375FBAF}" dt="2021-06-22T08:57:34.655" v="710" actId="1076"/>
          <ac:cxnSpMkLst>
            <pc:docMk/>
            <pc:sldMk cId="218520005" sldId="2576"/>
            <ac:cxnSpMk id="262" creationId="{788D03E7-5029-47D5-A707-D1F2D46E1261}"/>
          </ac:cxnSpMkLst>
        </pc:cxnChg>
        <pc:cxnChg chg="mod">
          <ac:chgData name="Müller, Kurt (SI BP S TSS TR)" userId="e7e82c7e-80c6-42a5-ab71-24588885b7fe" providerId="ADAL" clId="{9FEA2841-5B76-4EDB-8984-1B2D4375FBAF}" dt="2021-06-22T08:57:34.655" v="710" actId="1076"/>
          <ac:cxnSpMkLst>
            <pc:docMk/>
            <pc:sldMk cId="218520005" sldId="2576"/>
            <ac:cxnSpMk id="263" creationId="{C937AA1E-5ADD-4AB1-8802-78ACE98D0503}"/>
          </ac:cxnSpMkLst>
        </pc:cxnChg>
        <pc:cxnChg chg="add mod">
          <ac:chgData name="Müller, Kurt (SI BP S TSS TR)" userId="e7e82c7e-80c6-42a5-ab71-24588885b7fe" providerId="ADAL" clId="{9FEA2841-5B76-4EDB-8984-1B2D4375FBAF}" dt="2021-06-22T08:50:09.742" v="600" actId="1076"/>
          <ac:cxnSpMkLst>
            <pc:docMk/>
            <pc:sldMk cId="218520005" sldId="2576"/>
            <ac:cxnSpMk id="1041" creationId="{AA79F5A4-5718-4431-91A5-C5C964C25856}"/>
          </ac:cxnSpMkLst>
        </pc:cxnChg>
      </pc:sldChg>
      <pc:sldChg chg="modSp add mod">
        <pc:chgData name="Müller, Kurt (SI BP S TSS TR)" userId="e7e82c7e-80c6-42a5-ab71-24588885b7fe" providerId="ADAL" clId="{9FEA2841-5B76-4EDB-8984-1B2D4375FBAF}" dt="2021-07-21T09:04:04.569" v="794" actId="20577"/>
        <pc:sldMkLst>
          <pc:docMk/>
          <pc:sldMk cId="1590403809" sldId="2577"/>
        </pc:sldMkLst>
        <pc:spChg chg="mod">
          <ac:chgData name="Müller, Kurt (SI BP S TSS TR)" userId="e7e82c7e-80c6-42a5-ab71-24588885b7fe" providerId="ADAL" clId="{9FEA2841-5B76-4EDB-8984-1B2D4375FBAF}" dt="2021-07-21T09:04:04.569" v="794" actId="20577"/>
          <ac:spMkLst>
            <pc:docMk/>
            <pc:sldMk cId="1590403809" sldId="2577"/>
            <ac:spMk id="4" creationId="{00000000-0000-0000-0000-000000000000}"/>
          </ac:spMkLst>
        </pc:spChg>
      </pc:sldChg>
      <pc:sldChg chg="addSp delSp modSp add mod">
        <pc:chgData name="Müller, Kurt (SI BP S TSS TR)" userId="e7e82c7e-80c6-42a5-ab71-24588885b7fe" providerId="ADAL" clId="{9FEA2841-5B76-4EDB-8984-1B2D4375FBAF}" dt="2021-07-21T09:07:11.631" v="887" actId="1076"/>
        <pc:sldMkLst>
          <pc:docMk/>
          <pc:sldMk cId="3458297983" sldId="2578"/>
        </pc:sldMkLst>
        <pc:spChg chg="del">
          <ac:chgData name="Müller, Kurt (SI BP S TSS TR)" userId="e7e82c7e-80c6-42a5-ab71-24588885b7fe" providerId="ADAL" clId="{9FEA2841-5B76-4EDB-8984-1B2D4375FBAF}" dt="2021-07-21T09:04:16.359" v="796" actId="478"/>
          <ac:spMkLst>
            <pc:docMk/>
            <pc:sldMk cId="3458297983" sldId="2578"/>
            <ac:spMk id="3" creationId="{50E17820-B62F-4719-80D9-FEC26EF1D72C}"/>
          </ac:spMkLst>
        </pc:spChg>
        <pc:spChg chg="del">
          <ac:chgData name="Müller, Kurt (SI BP S TSS TR)" userId="e7e82c7e-80c6-42a5-ab71-24588885b7fe" providerId="ADAL" clId="{9FEA2841-5B76-4EDB-8984-1B2D4375FBAF}" dt="2021-07-21T09:04:16.359" v="796" actId="478"/>
          <ac:spMkLst>
            <pc:docMk/>
            <pc:sldMk cId="3458297983" sldId="2578"/>
            <ac:spMk id="7" creationId="{B94CA8FE-2F2E-4469-8FD6-67794DA8077E}"/>
          </ac:spMkLst>
        </pc:spChg>
        <pc:spChg chg="del">
          <ac:chgData name="Müller, Kurt (SI BP S TSS TR)" userId="e7e82c7e-80c6-42a5-ab71-24588885b7fe" providerId="ADAL" clId="{9FEA2841-5B76-4EDB-8984-1B2D4375FBAF}" dt="2021-07-21T09:04:16.359" v="796" actId="478"/>
          <ac:spMkLst>
            <pc:docMk/>
            <pc:sldMk cId="3458297983" sldId="2578"/>
            <ac:spMk id="8" creationId="{9C053EA0-91CB-4D81-BB1C-4B1EE8548223}"/>
          </ac:spMkLst>
        </pc:spChg>
        <pc:spChg chg="del">
          <ac:chgData name="Müller, Kurt (SI BP S TSS TR)" userId="e7e82c7e-80c6-42a5-ab71-24588885b7fe" providerId="ADAL" clId="{9FEA2841-5B76-4EDB-8984-1B2D4375FBAF}" dt="2021-07-21T09:04:16.359" v="796" actId="478"/>
          <ac:spMkLst>
            <pc:docMk/>
            <pc:sldMk cId="3458297983" sldId="2578"/>
            <ac:spMk id="12" creationId="{44283284-1857-4526-8EEF-31B7C5036D7D}"/>
          </ac:spMkLst>
        </pc:spChg>
        <pc:spChg chg="del">
          <ac:chgData name="Müller, Kurt (SI BP S TSS TR)" userId="e7e82c7e-80c6-42a5-ab71-24588885b7fe" providerId="ADAL" clId="{9FEA2841-5B76-4EDB-8984-1B2D4375FBAF}" dt="2021-07-21T09:04:16.359" v="796" actId="478"/>
          <ac:spMkLst>
            <pc:docMk/>
            <pc:sldMk cId="3458297983" sldId="2578"/>
            <ac:spMk id="13" creationId="{70F7F107-4C83-4540-8CCB-1BEF909F4999}"/>
          </ac:spMkLst>
        </pc:spChg>
        <pc:spChg chg="del">
          <ac:chgData name="Müller, Kurt (SI BP S TSS TR)" userId="e7e82c7e-80c6-42a5-ab71-24588885b7fe" providerId="ADAL" clId="{9FEA2841-5B76-4EDB-8984-1B2D4375FBAF}" dt="2021-07-21T09:04:16.359" v="796" actId="478"/>
          <ac:spMkLst>
            <pc:docMk/>
            <pc:sldMk cId="3458297983" sldId="2578"/>
            <ac:spMk id="26" creationId="{58E8DA3B-38E2-4BB5-B434-86F6D3C96548}"/>
          </ac:spMkLst>
        </pc:spChg>
        <pc:spChg chg="del">
          <ac:chgData name="Müller, Kurt (SI BP S TSS TR)" userId="e7e82c7e-80c6-42a5-ab71-24588885b7fe" providerId="ADAL" clId="{9FEA2841-5B76-4EDB-8984-1B2D4375FBAF}" dt="2021-07-21T09:04:16.359" v="796" actId="478"/>
          <ac:spMkLst>
            <pc:docMk/>
            <pc:sldMk cId="3458297983" sldId="2578"/>
            <ac:spMk id="28" creationId="{C15F08BF-97D3-4262-A408-F010451A09E9}"/>
          </ac:spMkLst>
        </pc:spChg>
        <pc:spChg chg="del">
          <ac:chgData name="Müller, Kurt (SI BP S TSS TR)" userId="e7e82c7e-80c6-42a5-ab71-24588885b7fe" providerId="ADAL" clId="{9FEA2841-5B76-4EDB-8984-1B2D4375FBAF}" dt="2021-07-21T09:04:16.359" v="796" actId="478"/>
          <ac:spMkLst>
            <pc:docMk/>
            <pc:sldMk cId="3458297983" sldId="2578"/>
            <ac:spMk id="29" creationId="{6C7BC591-A8E2-4AAB-927A-2E5D4332B23C}"/>
          </ac:spMkLst>
        </pc:spChg>
        <pc:spChg chg="del">
          <ac:chgData name="Müller, Kurt (SI BP S TSS TR)" userId="e7e82c7e-80c6-42a5-ab71-24588885b7fe" providerId="ADAL" clId="{9FEA2841-5B76-4EDB-8984-1B2D4375FBAF}" dt="2021-07-21T09:04:16.359" v="796" actId="478"/>
          <ac:spMkLst>
            <pc:docMk/>
            <pc:sldMk cId="3458297983" sldId="2578"/>
            <ac:spMk id="30" creationId="{D05DD01A-836B-436F-8FBE-E87C1F97F3EA}"/>
          </ac:spMkLst>
        </pc:spChg>
        <pc:spChg chg="add mod">
          <ac:chgData name="Müller, Kurt (SI BP S TSS TR)" userId="e7e82c7e-80c6-42a5-ab71-24588885b7fe" providerId="ADAL" clId="{9FEA2841-5B76-4EDB-8984-1B2D4375FBAF}" dt="2021-07-21T09:06:07.971" v="857" actId="1035"/>
          <ac:spMkLst>
            <pc:docMk/>
            <pc:sldMk cId="3458297983" sldId="2578"/>
            <ac:spMk id="43" creationId="{A9201726-681C-4CAB-80AE-DA0512004A3B}"/>
          </ac:spMkLst>
        </pc:spChg>
        <pc:spChg chg="del">
          <ac:chgData name="Müller, Kurt (SI BP S TSS TR)" userId="e7e82c7e-80c6-42a5-ab71-24588885b7fe" providerId="ADAL" clId="{9FEA2841-5B76-4EDB-8984-1B2D4375FBAF}" dt="2021-07-21T09:04:18.363" v="797" actId="478"/>
          <ac:spMkLst>
            <pc:docMk/>
            <pc:sldMk cId="3458297983" sldId="2578"/>
            <ac:spMk id="45" creationId="{D9B58BD3-109D-46CC-956F-4EC54431496F}"/>
          </ac:spMkLst>
        </pc:spChg>
        <pc:spChg chg="add mod">
          <ac:chgData name="Müller, Kurt (SI BP S TSS TR)" userId="e7e82c7e-80c6-42a5-ab71-24588885b7fe" providerId="ADAL" clId="{9FEA2841-5B76-4EDB-8984-1B2D4375FBAF}" dt="2021-07-21T09:07:11.631" v="887" actId="1076"/>
          <ac:spMkLst>
            <pc:docMk/>
            <pc:sldMk cId="3458297983" sldId="2578"/>
            <ac:spMk id="46" creationId="{6F14EF66-619F-4A2A-B9ED-D673960D7B57}"/>
          </ac:spMkLst>
        </pc:spChg>
        <pc:spChg chg="del">
          <ac:chgData name="Müller, Kurt (SI BP S TSS TR)" userId="e7e82c7e-80c6-42a5-ab71-24588885b7fe" providerId="ADAL" clId="{9FEA2841-5B76-4EDB-8984-1B2D4375FBAF}" dt="2021-07-21T09:04:16.359" v="796" actId="478"/>
          <ac:spMkLst>
            <pc:docMk/>
            <pc:sldMk cId="3458297983" sldId="2578"/>
            <ac:spMk id="48" creationId="{35F12D62-5594-4DE0-95E6-B853B96CF34A}"/>
          </ac:spMkLst>
        </pc:spChg>
        <pc:spChg chg="mod">
          <ac:chgData name="Müller, Kurt (SI BP S TSS TR)" userId="e7e82c7e-80c6-42a5-ab71-24588885b7fe" providerId="ADAL" clId="{9FEA2841-5B76-4EDB-8984-1B2D4375FBAF}" dt="2021-07-21T09:04:28.493" v="814" actId="20577"/>
          <ac:spMkLst>
            <pc:docMk/>
            <pc:sldMk cId="3458297983" sldId="2578"/>
            <ac:spMk id="78" creationId="{4DD5E6A6-4EC4-451D-BF52-ECC3BB5942CE}"/>
          </ac:spMkLst>
        </pc:spChg>
        <pc:spChg chg="del mod">
          <ac:chgData name="Müller, Kurt (SI BP S TSS TR)" userId="e7e82c7e-80c6-42a5-ab71-24588885b7fe" providerId="ADAL" clId="{9FEA2841-5B76-4EDB-8984-1B2D4375FBAF}" dt="2021-07-21T09:05:45.595" v="825" actId="478"/>
          <ac:spMkLst>
            <pc:docMk/>
            <pc:sldMk cId="3458297983" sldId="2578"/>
            <ac:spMk id="80" creationId="{BCCBD6DD-DD54-4944-856D-4CF9046EC303}"/>
          </ac:spMkLst>
        </pc:spChg>
        <pc:grpChg chg="del">
          <ac:chgData name="Müller, Kurt (SI BP S TSS TR)" userId="e7e82c7e-80c6-42a5-ab71-24588885b7fe" providerId="ADAL" clId="{9FEA2841-5B76-4EDB-8984-1B2D4375FBAF}" dt="2021-07-21T09:04:16.359" v="796" actId="478"/>
          <ac:grpSpMkLst>
            <pc:docMk/>
            <pc:sldMk cId="3458297983" sldId="2578"/>
            <ac:grpSpMk id="42" creationId="{F096EAFC-BAC6-421E-BE7E-79F733868E46}"/>
          </ac:grpSpMkLst>
        </pc:grpChg>
        <pc:grpChg chg="del">
          <ac:chgData name="Müller, Kurt (SI BP S TSS TR)" userId="e7e82c7e-80c6-42a5-ab71-24588885b7fe" providerId="ADAL" clId="{9FEA2841-5B76-4EDB-8984-1B2D4375FBAF}" dt="2021-07-21T09:04:16.359" v="796" actId="478"/>
          <ac:grpSpMkLst>
            <pc:docMk/>
            <pc:sldMk cId="3458297983" sldId="2578"/>
            <ac:grpSpMk id="59" creationId="{2AA90227-B4AC-4446-8F1B-D0556084F54A}"/>
          </ac:grpSpMkLst>
        </pc:grpChg>
        <pc:picChg chg="del">
          <ac:chgData name="Müller, Kurt (SI BP S TSS TR)" userId="e7e82c7e-80c6-42a5-ab71-24588885b7fe" providerId="ADAL" clId="{9FEA2841-5B76-4EDB-8984-1B2D4375FBAF}" dt="2021-07-21T09:04:16.359" v="796" actId="478"/>
          <ac:picMkLst>
            <pc:docMk/>
            <pc:sldMk cId="3458297983" sldId="2578"/>
            <ac:picMk id="19" creationId="{0F1B2C26-6111-4246-94F1-9087531B1DB0}"/>
          </ac:picMkLst>
        </pc:picChg>
        <pc:picChg chg="del">
          <ac:chgData name="Müller, Kurt (SI BP S TSS TR)" userId="e7e82c7e-80c6-42a5-ab71-24588885b7fe" providerId="ADAL" clId="{9FEA2841-5B76-4EDB-8984-1B2D4375FBAF}" dt="2021-07-21T09:04:16.359" v="796" actId="478"/>
          <ac:picMkLst>
            <pc:docMk/>
            <pc:sldMk cId="3458297983" sldId="2578"/>
            <ac:picMk id="44" creationId="{95DD68FA-E9BF-4017-8646-D77E48938C82}"/>
          </ac:picMkLst>
        </pc:picChg>
        <pc:cxnChg chg="del">
          <ac:chgData name="Müller, Kurt (SI BP S TSS TR)" userId="e7e82c7e-80c6-42a5-ab71-24588885b7fe" providerId="ADAL" clId="{9FEA2841-5B76-4EDB-8984-1B2D4375FBAF}" dt="2021-07-21T09:04:16.359" v="796" actId="478"/>
          <ac:cxnSpMkLst>
            <pc:docMk/>
            <pc:sldMk cId="3458297983" sldId="2578"/>
            <ac:cxnSpMk id="9" creationId="{F3B5B37D-2223-4260-945B-FCB3E2DD166E}"/>
          </ac:cxnSpMkLst>
        </pc:cxnChg>
        <pc:cxnChg chg="del">
          <ac:chgData name="Müller, Kurt (SI BP S TSS TR)" userId="e7e82c7e-80c6-42a5-ab71-24588885b7fe" providerId="ADAL" clId="{9FEA2841-5B76-4EDB-8984-1B2D4375FBAF}" dt="2021-07-21T09:04:16.359" v="796" actId="478"/>
          <ac:cxnSpMkLst>
            <pc:docMk/>
            <pc:sldMk cId="3458297983" sldId="2578"/>
            <ac:cxnSpMk id="10" creationId="{0A6D2A58-F2F0-45DA-ACEA-59FD2518DF9C}"/>
          </ac:cxnSpMkLst>
        </pc:cxnChg>
        <pc:cxnChg chg="del">
          <ac:chgData name="Müller, Kurt (SI BP S TSS TR)" userId="e7e82c7e-80c6-42a5-ab71-24588885b7fe" providerId="ADAL" clId="{9FEA2841-5B76-4EDB-8984-1B2D4375FBAF}" dt="2021-07-21T09:04:16.359" v="796" actId="478"/>
          <ac:cxnSpMkLst>
            <pc:docMk/>
            <pc:sldMk cId="3458297983" sldId="2578"/>
            <ac:cxnSpMk id="11" creationId="{0F682995-DDA2-4D13-8F02-B2B026956B6D}"/>
          </ac:cxnSpMkLst>
        </pc:cxnChg>
        <pc:cxnChg chg="del">
          <ac:chgData name="Müller, Kurt (SI BP S TSS TR)" userId="e7e82c7e-80c6-42a5-ab71-24588885b7fe" providerId="ADAL" clId="{9FEA2841-5B76-4EDB-8984-1B2D4375FBAF}" dt="2021-07-21T09:04:16.359" v="796" actId="478"/>
          <ac:cxnSpMkLst>
            <pc:docMk/>
            <pc:sldMk cId="3458297983" sldId="2578"/>
            <ac:cxnSpMk id="14" creationId="{83EAAC2E-1F24-4760-B0FC-1B30E0E24719}"/>
          </ac:cxnSpMkLst>
        </pc:cxnChg>
        <pc:cxnChg chg="del">
          <ac:chgData name="Müller, Kurt (SI BP S TSS TR)" userId="e7e82c7e-80c6-42a5-ab71-24588885b7fe" providerId="ADAL" clId="{9FEA2841-5B76-4EDB-8984-1B2D4375FBAF}" dt="2021-07-21T09:04:16.359" v="796" actId="478"/>
          <ac:cxnSpMkLst>
            <pc:docMk/>
            <pc:sldMk cId="3458297983" sldId="2578"/>
            <ac:cxnSpMk id="22" creationId="{04E5493B-774E-4659-8DFE-E5D6D62E84C6}"/>
          </ac:cxnSpMkLst>
        </pc:cxnChg>
        <pc:cxnChg chg="del mod">
          <ac:chgData name="Müller, Kurt (SI BP S TSS TR)" userId="e7e82c7e-80c6-42a5-ab71-24588885b7fe" providerId="ADAL" clId="{9FEA2841-5B76-4EDB-8984-1B2D4375FBAF}" dt="2021-07-21T09:04:16.359" v="796" actId="478"/>
          <ac:cxnSpMkLst>
            <pc:docMk/>
            <pc:sldMk cId="3458297983" sldId="2578"/>
            <ac:cxnSpMk id="27" creationId="{3DAB4043-CDCC-4CD6-B61C-EC1B4206FEEA}"/>
          </ac:cxnSpMkLst>
        </pc:cxnChg>
        <pc:cxnChg chg="del">
          <ac:chgData name="Müller, Kurt (SI BP S TSS TR)" userId="e7e82c7e-80c6-42a5-ab71-24588885b7fe" providerId="ADAL" clId="{9FEA2841-5B76-4EDB-8984-1B2D4375FBAF}" dt="2021-07-21T09:04:16.359" v="796" actId="478"/>
          <ac:cxnSpMkLst>
            <pc:docMk/>
            <pc:sldMk cId="3458297983" sldId="2578"/>
            <ac:cxnSpMk id="31" creationId="{67D22868-5D50-4228-803C-00B2268CE563}"/>
          </ac:cxnSpMkLst>
        </pc:cxnChg>
      </pc:sldChg>
      <pc:sldChg chg="addSp delSp modSp add del mod modAnim">
        <pc:chgData name="Müller, Kurt (SI BP S TSS TR)" userId="e7e82c7e-80c6-42a5-ab71-24588885b7fe" providerId="ADAL" clId="{9FEA2841-5B76-4EDB-8984-1B2D4375FBAF}" dt="2021-07-21T09:29:09.024" v="1153" actId="47"/>
        <pc:sldMkLst>
          <pc:docMk/>
          <pc:sldMk cId="619177906" sldId="2579"/>
        </pc:sldMkLst>
        <pc:spChg chg="del">
          <ac:chgData name="Müller, Kurt (SI BP S TSS TR)" userId="e7e82c7e-80c6-42a5-ab71-24588885b7fe" providerId="ADAL" clId="{9FEA2841-5B76-4EDB-8984-1B2D4375FBAF}" dt="2021-07-21T09:11:46.507" v="925" actId="478"/>
          <ac:spMkLst>
            <pc:docMk/>
            <pc:sldMk cId="619177906" sldId="2579"/>
            <ac:spMk id="24" creationId="{72DE5DA1-A112-49BD-A66D-4DCAA387FB12}"/>
          </ac:spMkLst>
        </pc:spChg>
        <pc:spChg chg="add mod">
          <ac:chgData name="Müller, Kurt (SI BP S TSS TR)" userId="e7e82c7e-80c6-42a5-ab71-24588885b7fe" providerId="ADAL" clId="{9FEA2841-5B76-4EDB-8984-1B2D4375FBAF}" dt="2021-07-21T09:13:17.859" v="927"/>
          <ac:spMkLst>
            <pc:docMk/>
            <pc:sldMk cId="619177906" sldId="2579"/>
            <ac:spMk id="26" creationId="{D156A09B-5964-4879-BD5F-CD0C5FE89F5E}"/>
          </ac:spMkLst>
        </pc:spChg>
        <pc:spChg chg="del">
          <ac:chgData name="Müller, Kurt (SI BP S TSS TR)" userId="e7e82c7e-80c6-42a5-ab71-24588885b7fe" providerId="ADAL" clId="{9FEA2841-5B76-4EDB-8984-1B2D4375FBAF}" dt="2021-07-21T09:11:44.587" v="924" actId="478"/>
          <ac:spMkLst>
            <pc:docMk/>
            <pc:sldMk cId="619177906" sldId="2579"/>
            <ac:spMk id="27" creationId="{BD2F4067-9B3F-4C89-BFEA-B992CED91F00}"/>
          </ac:spMkLst>
        </pc:spChg>
        <pc:spChg chg="del">
          <ac:chgData name="Müller, Kurt (SI BP S TSS TR)" userId="e7e82c7e-80c6-42a5-ab71-24588885b7fe" providerId="ADAL" clId="{9FEA2841-5B76-4EDB-8984-1B2D4375FBAF}" dt="2021-07-21T09:11:44.587" v="924" actId="478"/>
          <ac:spMkLst>
            <pc:docMk/>
            <pc:sldMk cId="619177906" sldId="2579"/>
            <ac:spMk id="28" creationId="{A3B7128D-3A4D-4AD4-BFA1-098CC3DA66BA}"/>
          </ac:spMkLst>
        </pc:spChg>
        <pc:spChg chg="mod">
          <ac:chgData name="Müller, Kurt (SI BP S TSS TR)" userId="e7e82c7e-80c6-42a5-ab71-24588885b7fe" providerId="ADAL" clId="{9FEA2841-5B76-4EDB-8984-1B2D4375FBAF}" dt="2021-07-21T09:13:17.859" v="927"/>
          <ac:spMkLst>
            <pc:docMk/>
            <pc:sldMk cId="619177906" sldId="2579"/>
            <ac:spMk id="31" creationId="{7D9FC787-C49B-43A7-8F1F-F853D0297267}"/>
          </ac:spMkLst>
        </pc:spChg>
        <pc:spChg chg="mod">
          <ac:chgData name="Müller, Kurt (SI BP S TSS TR)" userId="e7e82c7e-80c6-42a5-ab71-24588885b7fe" providerId="ADAL" clId="{9FEA2841-5B76-4EDB-8984-1B2D4375FBAF}" dt="2021-07-21T09:13:17.859" v="927"/>
          <ac:spMkLst>
            <pc:docMk/>
            <pc:sldMk cId="619177906" sldId="2579"/>
            <ac:spMk id="32" creationId="{8632F71F-3B3F-4648-99F2-CC1CCA35EB0F}"/>
          </ac:spMkLst>
        </pc:spChg>
        <pc:spChg chg="mod">
          <ac:chgData name="Müller, Kurt (SI BP S TSS TR)" userId="e7e82c7e-80c6-42a5-ab71-24588885b7fe" providerId="ADAL" clId="{9FEA2841-5B76-4EDB-8984-1B2D4375FBAF}" dt="2021-07-21T09:13:17.859" v="927"/>
          <ac:spMkLst>
            <pc:docMk/>
            <pc:sldMk cId="619177906" sldId="2579"/>
            <ac:spMk id="33" creationId="{7C6CAFA6-72B5-464F-AD8F-28DFFEC19514}"/>
          </ac:spMkLst>
        </pc:spChg>
        <pc:spChg chg="mod">
          <ac:chgData name="Müller, Kurt (SI BP S TSS TR)" userId="e7e82c7e-80c6-42a5-ab71-24588885b7fe" providerId="ADAL" clId="{9FEA2841-5B76-4EDB-8984-1B2D4375FBAF}" dt="2021-07-21T09:13:17.859" v="927"/>
          <ac:spMkLst>
            <pc:docMk/>
            <pc:sldMk cId="619177906" sldId="2579"/>
            <ac:spMk id="34" creationId="{339C3188-F374-4D4C-B31F-9ED68CEDE506}"/>
          </ac:spMkLst>
        </pc:spChg>
        <pc:spChg chg="mod">
          <ac:chgData name="Müller, Kurt (SI BP S TSS TR)" userId="e7e82c7e-80c6-42a5-ab71-24588885b7fe" providerId="ADAL" clId="{9FEA2841-5B76-4EDB-8984-1B2D4375FBAF}" dt="2021-07-21T09:13:17.859" v="927"/>
          <ac:spMkLst>
            <pc:docMk/>
            <pc:sldMk cId="619177906" sldId="2579"/>
            <ac:spMk id="35" creationId="{9C473427-50F8-4545-BF8A-C941A135FCC7}"/>
          </ac:spMkLst>
        </pc:spChg>
        <pc:spChg chg="mod">
          <ac:chgData name="Müller, Kurt (SI BP S TSS TR)" userId="e7e82c7e-80c6-42a5-ab71-24588885b7fe" providerId="ADAL" clId="{9FEA2841-5B76-4EDB-8984-1B2D4375FBAF}" dt="2021-07-21T09:13:17.859" v="927"/>
          <ac:spMkLst>
            <pc:docMk/>
            <pc:sldMk cId="619177906" sldId="2579"/>
            <ac:spMk id="36" creationId="{A692F344-EAF6-47E4-9071-CADB83ED2748}"/>
          </ac:spMkLst>
        </pc:spChg>
        <pc:spChg chg="mod">
          <ac:chgData name="Müller, Kurt (SI BP S TSS TR)" userId="e7e82c7e-80c6-42a5-ab71-24588885b7fe" providerId="ADAL" clId="{9FEA2841-5B76-4EDB-8984-1B2D4375FBAF}" dt="2021-07-21T09:13:17.859" v="927"/>
          <ac:spMkLst>
            <pc:docMk/>
            <pc:sldMk cId="619177906" sldId="2579"/>
            <ac:spMk id="37" creationId="{D91683F8-8B60-4FFC-BEA3-8036E254A8D6}"/>
          </ac:spMkLst>
        </pc:spChg>
        <pc:spChg chg="mod">
          <ac:chgData name="Müller, Kurt (SI BP S TSS TR)" userId="e7e82c7e-80c6-42a5-ab71-24588885b7fe" providerId="ADAL" clId="{9FEA2841-5B76-4EDB-8984-1B2D4375FBAF}" dt="2021-07-21T09:13:17.859" v="927"/>
          <ac:spMkLst>
            <pc:docMk/>
            <pc:sldMk cId="619177906" sldId="2579"/>
            <ac:spMk id="38" creationId="{4239A087-384E-4D82-888A-BBE340304118}"/>
          </ac:spMkLst>
        </pc:spChg>
        <pc:spChg chg="mod">
          <ac:chgData name="Müller, Kurt (SI BP S TSS TR)" userId="e7e82c7e-80c6-42a5-ab71-24588885b7fe" providerId="ADAL" clId="{9FEA2841-5B76-4EDB-8984-1B2D4375FBAF}" dt="2021-07-21T09:13:17.859" v="927"/>
          <ac:spMkLst>
            <pc:docMk/>
            <pc:sldMk cId="619177906" sldId="2579"/>
            <ac:spMk id="39" creationId="{B951A4EB-7DE1-4183-99C6-10995C763620}"/>
          </ac:spMkLst>
        </pc:spChg>
        <pc:spChg chg="mod">
          <ac:chgData name="Müller, Kurt (SI BP S TSS TR)" userId="e7e82c7e-80c6-42a5-ab71-24588885b7fe" providerId="ADAL" clId="{9FEA2841-5B76-4EDB-8984-1B2D4375FBAF}" dt="2021-07-21T09:13:17.859" v="927"/>
          <ac:spMkLst>
            <pc:docMk/>
            <pc:sldMk cId="619177906" sldId="2579"/>
            <ac:spMk id="40" creationId="{AFE66F27-9845-441E-98C6-1921DB25EBA7}"/>
          </ac:spMkLst>
        </pc:spChg>
        <pc:spChg chg="mod">
          <ac:chgData name="Müller, Kurt (SI BP S TSS TR)" userId="e7e82c7e-80c6-42a5-ab71-24588885b7fe" providerId="ADAL" clId="{9FEA2841-5B76-4EDB-8984-1B2D4375FBAF}" dt="2021-07-21T09:13:17.859" v="927"/>
          <ac:spMkLst>
            <pc:docMk/>
            <pc:sldMk cId="619177906" sldId="2579"/>
            <ac:spMk id="41" creationId="{53A99361-8D93-48C3-AD7D-7241359B85ED}"/>
          </ac:spMkLst>
        </pc:spChg>
        <pc:spChg chg="mod">
          <ac:chgData name="Müller, Kurt (SI BP S TSS TR)" userId="e7e82c7e-80c6-42a5-ab71-24588885b7fe" providerId="ADAL" clId="{9FEA2841-5B76-4EDB-8984-1B2D4375FBAF}" dt="2021-07-21T09:13:17.859" v="927"/>
          <ac:spMkLst>
            <pc:docMk/>
            <pc:sldMk cId="619177906" sldId="2579"/>
            <ac:spMk id="42" creationId="{FFDB89F0-C36B-442C-87DC-D07F06E4E52E}"/>
          </ac:spMkLst>
        </pc:spChg>
        <pc:spChg chg="mod">
          <ac:chgData name="Müller, Kurt (SI BP S TSS TR)" userId="e7e82c7e-80c6-42a5-ab71-24588885b7fe" providerId="ADAL" clId="{9FEA2841-5B76-4EDB-8984-1B2D4375FBAF}" dt="2021-07-21T09:13:17.859" v="927"/>
          <ac:spMkLst>
            <pc:docMk/>
            <pc:sldMk cId="619177906" sldId="2579"/>
            <ac:spMk id="43" creationId="{16F864C6-3C82-4083-8694-B181ADBBC2B1}"/>
          </ac:spMkLst>
        </pc:spChg>
        <pc:spChg chg="mod">
          <ac:chgData name="Müller, Kurt (SI BP S TSS TR)" userId="e7e82c7e-80c6-42a5-ab71-24588885b7fe" providerId="ADAL" clId="{9FEA2841-5B76-4EDB-8984-1B2D4375FBAF}" dt="2021-07-21T09:13:17.859" v="927"/>
          <ac:spMkLst>
            <pc:docMk/>
            <pc:sldMk cId="619177906" sldId="2579"/>
            <ac:spMk id="44" creationId="{BBF28D87-E838-4BF6-80EA-D36B69FF0E55}"/>
          </ac:spMkLst>
        </pc:spChg>
        <pc:spChg chg="mod">
          <ac:chgData name="Müller, Kurt (SI BP S TSS TR)" userId="e7e82c7e-80c6-42a5-ab71-24588885b7fe" providerId="ADAL" clId="{9FEA2841-5B76-4EDB-8984-1B2D4375FBAF}" dt="2021-07-21T09:13:17.859" v="927"/>
          <ac:spMkLst>
            <pc:docMk/>
            <pc:sldMk cId="619177906" sldId="2579"/>
            <ac:spMk id="45" creationId="{D265D82E-51E6-489E-8010-CE91B944A630}"/>
          </ac:spMkLst>
        </pc:spChg>
        <pc:spChg chg="mod">
          <ac:chgData name="Müller, Kurt (SI BP S TSS TR)" userId="e7e82c7e-80c6-42a5-ab71-24588885b7fe" providerId="ADAL" clId="{9FEA2841-5B76-4EDB-8984-1B2D4375FBAF}" dt="2021-07-21T09:13:17.859" v="927"/>
          <ac:spMkLst>
            <pc:docMk/>
            <pc:sldMk cId="619177906" sldId="2579"/>
            <ac:spMk id="46" creationId="{1F17C95D-27E4-405D-82D8-C3B7CEF22D3F}"/>
          </ac:spMkLst>
        </pc:spChg>
        <pc:spChg chg="mod">
          <ac:chgData name="Müller, Kurt (SI BP S TSS TR)" userId="e7e82c7e-80c6-42a5-ab71-24588885b7fe" providerId="ADAL" clId="{9FEA2841-5B76-4EDB-8984-1B2D4375FBAF}" dt="2021-07-21T09:13:17.859" v="927"/>
          <ac:spMkLst>
            <pc:docMk/>
            <pc:sldMk cId="619177906" sldId="2579"/>
            <ac:spMk id="47" creationId="{CF8BFA73-76DE-40CE-8E21-C4BC6F09FE6C}"/>
          </ac:spMkLst>
        </pc:spChg>
        <pc:spChg chg="mod">
          <ac:chgData name="Müller, Kurt (SI BP S TSS TR)" userId="e7e82c7e-80c6-42a5-ab71-24588885b7fe" providerId="ADAL" clId="{9FEA2841-5B76-4EDB-8984-1B2D4375FBAF}" dt="2021-07-21T09:13:17.859" v="927"/>
          <ac:spMkLst>
            <pc:docMk/>
            <pc:sldMk cId="619177906" sldId="2579"/>
            <ac:spMk id="48" creationId="{3240B1AB-4D9E-4BC8-AE5D-B2BD266548BE}"/>
          </ac:spMkLst>
        </pc:spChg>
        <pc:spChg chg="mod">
          <ac:chgData name="Müller, Kurt (SI BP S TSS TR)" userId="e7e82c7e-80c6-42a5-ab71-24588885b7fe" providerId="ADAL" clId="{9FEA2841-5B76-4EDB-8984-1B2D4375FBAF}" dt="2021-07-21T09:13:17.859" v="927"/>
          <ac:spMkLst>
            <pc:docMk/>
            <pc:sldMk cId="619177906" sldId="2579"/>
            <ac:spMk id="49" creationId="{2DE243F3-1E8E-48AB-8199-3DAE07D27647}"/>
          </ac:spMkLst>
        </pc:spChg>
        <pc:spChg chg="mod">
          <ac:chgData name="Müller, Kurt (SI BP S TSS TR)" userId="e7e82c7e-80c6-42a5-ab71-24588885b7fe" providerId="ADAL" clId="{9FEA2841-5B76-4EDB-8984-1B2D4375FBAF}" dt="2021-07-21T09:13:17.859" v="927"/>
          <ac:spMkLst>
            <pc:docMk/>
            <pc:sldMk cId="619177906" sldId="2579"/>
            <ac:spMk id="50" creationId="{093E541B-43DE-472C-BB78-DD353B70AD62}"/>
          </ac:spMkLst>
        </pc:spChg>
        <pc:spChg chg="mod">
          <ac:chgData name="Müller, Kurt (SI BP S TSS TR)" userId="e7e82c7e-80c6-42a5-ab71-24588885b7fe" providerId="ADAL" clId="{9FEA2841-5B76-4EDB-8984-1B2D4375FBAF}" dt="2021-07-21T09:13:17.859" v="927"/>
          <ac:spMkLst>
            <pc:docMk/>
            <pc:sldMk cId="619177906" sldId="2579"/>
            <ac:spMk id="51" creationId="{D1B07D14-BBBD-44E5-AAC0-B3EF3BA35F33}"/>
          </ac:spMkLst>
        </pc:spChg>
        <pc:spChg chg="mod">
          <ac:chgData name="Müller, Kurt (SI BP S TSS TR)" userId="e7e82c7e-80c6-42a5-ab71-24588885b7fe" providerId="ADAL" clId="{9FEA2841-5B76-4EDB-8984-1B2D4375FBAF}" dt="2021-07-21T09:13:17.859" v="927"/>
          <ac:spMkLst>
            <pc:docMk/>
            <pc:sldMk cId="619177906" sldId="2579"/>
            <ac:spMk id="52" creationId="{4120624C-5C21-4225-B7A4-55DEA0888613}"/>
          </ac:spMkLst>
        </pc:spChg>
        <pc:spChg chg="mod">
          <ac:chgData name="Müller, Kurt (SI BP S TSS TR)" userId="e7e82c7e-80c6-42a5-ab71-24588885b7fe" providerId="ADAL" clId="{9FEA2841-5B76-4EDB-8984-1B2D4375FBAF}" dt="2021-07-21T09:13:17.859" v="927"/>
          <ac:spMkLst>
            <pc:docMk/>
            <pc:sldMk cId="619177906" sldId="2579"/>
            <ac:spMk id="53" creationId="{4CFCCD19-C0FA-4D28-B440-DDFB89406B37}"/>
          </ac:spMkLst>
        </pc:spChg>
        <pc:spChg chg="mod">
          <ac:chgData name="Müller, Kurt (SI BP S TSS TR)" userId="e7e82c7e-80c6-42a5-ab71-24588885b7fe" providerId="ADAL" clId="{9FEA2841-5B76-4EDB-8984-1B2D4375FBAF}" dt="2021-07-21T09:13:17.859" v="927"/>
          <ac:spMkLst>
            <pc:docMk/>
            <pc:sldMk cId="619177906" sldId="2579"/>
            <ac:spMk id="54" creationId="{6F8D2892-A594-4292-8F26-DE91C07A2318}"/>
          </ac:spMkLst>
        </pc:spChg>
        <pc:spChg chg="mod">
          <ac:chgData name="Müller, Kurt (SI BP S TSS TR)" userId="e7e82c7e-80c6-42a5-ab71-24588885b7fe" providerId="ADAL" clId="{9FEA2841-5B76-4EDB-8984-1B2D4375FBAF}" dt="2021-07-21T09:13:17.859" v="927"/>
          <ac:spMkLst>
            <pc:docMk/>
            <pc:sldMk cId="619177906" sldId="2579"/>
            <ac:spMk id="55" creationId="{9D666187-1723-48C3-BCDB-A4085FCBAD98}"/>
          </ac:spMkLst>
        </pc:spChg>
        <pc:spChg chg="mod">
          <ac:chgData name="Müller, Kurt (SI BP S TSS TR)" userId="e7e82c7e-80c6-42a5-ab71-24588885b7fe" providerId="ADAL" clId="{9FEA2841-5B76-4EDB-8984-1B2D4375FBAF}" dt="2021-07-21T09:13:17.859" v="927"/>
          <ac:spMkLst>
            <pc:docMk/>
            <pc:sldMk cId="619177906" sldId="2579"/>
            <ac:spMk id="56" creationId="{73CAB2FA-0348-49BC-B35F-8FA284FCAE2A}"/>
          </ac:spMkLst>
        </pc:spChg>
        <pc:spChg chg="mod">
          <ac:chgData name="Müller, Kurt (SI BP S TSS TR)" userId="e7e82c7e-80c6-42a5-ab71-24588885b7fe" providerId="ADAL" clId="{9FEA2841-5B76-4EDB-8984-1B2D4375FBAF}" dt="2021-07-21T09:13:17.859" v="927"/>
          <ac:spMkLst>
            <pc:docMk/>
            <pc:sldMk cId="619177906" sldId="2579"/>
            <ac:spMk id="57" creationId="{E08FC08B-821B-4320-9F99-3E46D706D798}"/>
          </ac:spMkLst>
        </pc:spChg>
        <pc:spChg chg="mod">
          <ac:chgData name="Müller, Kurt (SI BP S TSS TR)" userId="e7e82c7e-80c6-42a5-ab71-24588885b7fe" providerId="ADAL" clId="{9FEA2841-5B76-4EDB-8984-1B2D4375FBAF}" dt="2021-07-21T09:13:17.859" v="927"/>
          <ac:spMkLst>
            <pc:docMk/>
            <pc:sldMk cId="619177906" sldId="2579"/>
            <ac:spMk id="58" creationId="{7DF140CF-6B99-4CE4-AFF8-AAA316C59AE4}"/>
          </ac:spMkLst>
        </pc:spChg>
        <pc:spChg chg="mod">
          <ac:chgData name="Müller, Kurt (SI BP S TSS TR)" userId="e7e82c7e-80c6-42a5-ab71-24588885b7fe" providerId="ADAL" clId="{9FEA2841-5B76-4EDB-8984-1B2D4375FBAF}" dt="2021-07-21T09:13:17.859" v="927"/>
          <ac:spMkLst>
            <pc:docMk/>
            <pc:sldMk cId="619177906" sldId="2579"/>
            <ac:spMk id="59" creationId="{6FA2204A-A21C-47DE-A114-E94A106D1E9C}"/>
          </ac:spMkLst>
        </pc:spChg>
        <pc:spChg chg="mod">
          <ac:chgData name="Müller, Kurt (SI BP S TSS TR)" userId="e7e82c7e-80c6-42a5-ab71-24588885b7fe" providerId="ADAL" clId="{9FEA2841-5B76-4EDB-8984-1B2D4375FBAF}" dt="2021-07-21T09:13:17.859" v="927"/>
          <ac:spMkLst>
            <pc:docMk/>
            <pc:sldMk cId="619177906" sldId="2579"/>
            <ac:spMk id="60" creationId="{11C2B58D-A890-41DC-A799-24EC420AAA0E}"/>
          </ac:spMkLst>
        </pc:spChg>
        <pc:spChg chg="mod">
          <ac:chgData name="Müller, Kurt (SI BP S TSS TR)" userId="e7e82c7e-80c6-42a5-ab71-24588885b7fe" providerId="ADAL" clId="{9FEA2841-5B76-4EDB-8984-1B2D4375FBAF}" dt="2021-07-21T09:13:17.859" v="927"/>
          <ac:spMkLst>
            <pc:docMk/>
            <pc:sldMk cId="619177906" sldId="2579"/>
            <ac:spMk id="61" creationId="{E00A41B6-790D-44ED-9123-FF8DC5DAE84F}"/>
          </ac:spMkLst>
        </pc:spChg>
        <pc:spChg chg="mod">
          <ac:chgData name="Müller, Kurt (SI BP S TSS TR)" userId="e7e82c7e-80c6-42a5-ab71-24588885b7fe" providerId="ADAL" clId="{9FEA2841-5B76-4EDB-8984-1B2D4375FBAF}" dt="2021-07-21T09:13:17.859" v="927"/>
          <ac:spMkLst>
            <pc:docMk/>
            <pc:sldMk cId="619177906" sldId="2579"/>
            <ac:spMk id="63" creationId="{46961BEA-59E5-4336-ACB5-E95DA31A682D}"/>
          </ac:spMkLst>
        </pc:spChg>
        <pc:spChg chg="mod">
          <ac:chgData name="Müller, Kurt (SI BP S TSS TR)" userId="e7e82c7e-80c6-42a5-ab71-24588885b7fe" providerId="ADAL" clId="{9FEA2841-5B76-4EDB-8984-1B2D4375FBAF}" dt="2021-07-21T09:13:17.859" v="927"/>
          <ac:spMkLst>
            <pc:docMk/>
            <pc:sldMk cId="619177906" sldId="2579"/>
            <ac:spMk id="64" creationId="{CD6BD269-6014-4A7A-AA99-4350DA673629}"/>
          </ac:spMkLst>
        </pc:spChg>
        <pc:spChg chg="mod">
          <ac:chgData name="Müller, Kurt (SI BP S TSS TR)" userId="e7e82c7e-80c6-42a5-ab71-24588885b7fe" providerId="ADAL" clId="{9FEA2841-5B76-4EDB-8984-1B2D4375FBAF}" dt="2021-07-21T09:13:17.859" v="927"/>
          <ac:spMkLst>
            <pc:docMk/>
            <pc:sldMk cId="619177906" sldId="2579"/>
            <ac:spMk id="66" creationId="{A489A995-2215-4822-9F03-B6164CBCE64B}"/>
          </ac:spMkLst>
        </pc:spChg>
        <pc:spChg chg="mod">
          <ac:chgData name="Müller, Kurt (SI BP S TSS TR)" userId="e7e82c7e-80c6-42a5-ab71-24588885b7fe" providerId="ADAL" clId="{9FEA2841-5B76-4EDB-8984-1B2D4375FBAF}" dt="2021-07-21T09:13:17.859" v="927"/>
          <ac:spMkLst>
            <pc:docMk/>
            <pc:sldMk cId="619177906" sldId="2579"/>
            <ac:spMk id="67" creationId="{F8F05D59-5F40-4FDF-888E-C9B123DF9085}"/>
          </ac:spMkLst>
        </pc:spChg>
        <pc:spChg chg="mod">
          <ac:chgData name="Müller, Kurt (SI BP S TSS TR)" userId="e7e82c7e-80c6-42a5-ab71-24588885b7fe" providerId="ADAL" clId="{9FEA2841-5B76-4EDB-8984-1B2D4375FBAF}" dt="2021-07-21T09:13:17.859" v="927"/>
          <ac:spMkLst>
            <pc:docMk/>
            <pc:sldMk cId="619177906" sldId="2579"/>
            <ac:spMk id="69" creationId="{7ABE7428-93C2-4250-86DA-C2F9883BD2A7}"/>
          </ac:spMkLst>
        </pc:spChg>
        <pc:spChg chg="mod">
          <ac:chgData name="Müller, Kurt (SI BP S TSS TR)" userId="e7e82c7e-80c6-42a5-ab71-24588885b7fe" providerId="ADAL" clId="{9FEA2841-5B76-4EDB-8984-1B2D4375FBAF}" dt="2021-07-21T09:13:17.859" v="927"/>
          <ac:spMkLst>
            <pc:docMk/>
            <pc:sldMk cId="619177906" sldId="2579"/>
            <ac:spMk id="70" creationId="{8E148906-B7F1-4DBA-A18A-AD93679DE0F5}"/>
          </ac:spMkLst>
        </pc:spChg>
        <pc:spChg chg="mod">
          <ac:chgData name="Müller, Kurt (SI BP S TSS TR)" userId="e7e82c7e-80c6-42a5-ab71-24588885b7fe" providerId="ADAL" clId="{9FEA2841-5B76-4EDB-8984-1B2D4375FBAF}" dt="2021-07-21T09:13:17.859" v="927"/>
          <ac:spMkLst>
            <pc:docMk/>
            <pc:sldMk cId="619177906" sldId="2579"/>
            <ac:spMk id="72" creationId="{9B92719D-908B-4CD6-9B75-6593565949C0}"/>
          </ac:spMkLst>
        </pc:spChg>
        <pc:spChg chg="mod">
          <ac:chgData name="Müller, Kurt (SI BP S TSS TR)" userId="e7e82c7e-80c6-42a5-ab71-24588885b7fe" providerId="ADAL" clId="{9FEA2841-5B76-4EDB-8984-1B2D4375FBAF}" dt="2021-07-21T09:13:17.859" v="927"/>
          <ac:spMkLst>
            <pc:docMk/>
            <pc:sldMk cId="619177906" sldId="2579"/>
            <ac:spMk id="73" creationId="{30BDDABC-C8B1-4DED-956B-2911F07925C9}"/>
          </ac:spMkLst>
        </pc:spChg>
        <pc:spChg chg="add mod">
          <ac:chgData name="Müller, Kurt (SI BP S TSS TR)" userId="e7e82c7e-80c6-42a5-ab71-24588885b7fe" providerId="ADAL" clId="{9FEA2841-5B76-4EDB-8984-1B2D4375FBAF}" dt="2021-07-21T09:13:17.859" v="927"/>
          <ac:spMkLst>
            <pc:docMk/>
            <pc:sldMk cId="619177906" sldId="2579"/>
            <ac:spMk id="82" creationId="{D650E5B4-E691-4585-B7CE-0B8CCD3D74AE}"/>
          </ac:spMkLst>
        </pc:spChg>
        <pc:spChg chg="add mod">
          <ac:chgData name="Müller, Kurt (SI BP S TSS TR)" userId="e7e82c7e-80c6-42a5-ab71-24588885b7fe" providerId="ADAL" clId="{9FEA2841-5B76-4EDB-8984-1B2D4375FBAF}" dt="2021-07-21T09:13:17.859" v="927"/>
          <ac:spMkLst>
            <pc:docMk/>
            <pc:sldMk cId="619177906" sldId="2579"/>
            <ac:spMk id="83" creationId="{128BF1FF-3A83-4943-88CD-5563F1F857D5}"/>
          </ac:spMkLst>
        </pc:spChg>
        <pc:spChg chg="add mod">
          <ac:chgData name="Müller, Kurt (SI BP S TSS TR)" userId="e7e82c7e-80c6-42a5-ab71-24588885b7fe" providerId="ADAL" clId="{9FEA2841-5B76-4EDB-8984-1B2D4375FBAF}" dt="2021-07-21T09:13:17.859" v="927"/>
          <ac:spMkLst>
            <pc:docMk/>
            <pc:sldMk cId="619177906" sldId="2579"/>
            <ac:spMk id="84" creationId="{ABA1C98E-08D0-4C87-BB3C-71FF94D44677}"/>
          </ac:spMkLst>
        </pc:spChg>
        <pc:spChg chg="add mod">
          <ac:chgData name="Müller, Kurt (SI BP S TSS TR)" userId="e7e82c7e-80c6-42a5-ab71-24588885b7fe" providerId="ADAL" clId="{9FEA2841-5B76-4EDB-8984-1B2D4375FBAF}" dt="2021-07-21T09:13:17.859" v="927"/>
          <ac:spMkLst>
            <pc:docMk/>
            <pc:sldMk cId="619177906" sldId="2579"/>
            <ac:spMk id="85" creationId="{1211C9B7-C63A-463A-9B30-FEAFCD0CEFDB}"/>
          </ac:spMkLst>
        </pc:spChg>
        <pc:spChg chg="mod">
          <ac:chgData name="Müller, Kurt (SI BP S TSS TR)" userId="e7e82c7e-80c6-42a5-ab71-24588885b7fe" providerId="ADAL" clId="{9FEA2841-5B76-4EDB-8984-1B2D4375FBAF}" dt="2021-07-21T09:13:17.859" v="927"/>
          <ac:spMkLst>
            <pc:docMk/>
            <pc:sldMk cId="619177906" sldId="2579"/>
            <ac:spMk id="87" creationId="{7879E94B-585E-49A3-BFBC-49D7A1BC2410}"/>
          </ac:spMkLst>
        </pc:spChg>
        <pc:spChg chg="mod">
          <ac:chgData name="Müller, Kurt (SI BP S TSS TR)" userId="e7e82c7e-80c6-42a5-ab71-24588885b7fe" providerId="ADAL" clId="{9FEA2841-5B76-4EDB-8984-1B2D4375FBAF}" dt="2021-07-21T09:13:17.859" v="927"/>
          <ac:spMkLst>
            <pc:docMk/>
            <pc:sldMk cId="619177906" sldId="2579"/>
            <ac:spMk id="92" creationId="{ADE9A5F0-D997-4308-AEE4-84A967311631}"/>
          </ac:spMkLst>
        </pc:spChg>
        <pc:spChg chg="add mod">
          <ac:chgData name="Müller, Kurt (SI BP S TSS TR)" userId="e7e82c7e-80c6-42a5-ab71-24588885b7fe" providerId="ADAL" clId="{9FEA2841-5B76-4EDB-8984-1B2D4375FBAF}" dt="2021-07-21T09:13:17.859" v="927"/>
          <ac:spMkLst>
            <pc:docMk/>
            <pc:sldMk cId="619177906" sldId="2579"/>
            <ac:spMk id="95" creationId="{BA49EE46-AD2E-4E35-BD5D-94D54EC1FE12}"/>
          </ac:spMkLst>
        </pc:spChg>
        <pc:spChg chg="add mod">
          <ac:chgData name="Müller, Kurt (SI BP S TSS TR)" userId="e7e82c7e-80c6-42a5-ab71-24588885b7fe" providerId="ADAL" clId="{9FEA2841-5B76-4EDB-8984-1B2D4375FBAF}" dt="2021-07-21T09:13:17.859" v="927"/>
          <ac:spMkLst>
            <pc:docMk/>
            <pc:sldMk cId="619177906" sldId="2579"/>
            <ac:spMk id="96" creationId="{F58902F7-74F5-40D2-95E0-489AE3763F2D}"/>
          </ac:spMkLst>
        </pc:spChg>
        <pc:spChg chg="del">
          <ac:chgData name="Müller, Kurt (SI BP S TSS TR)" userId="e7e82c7e-80c6-42a5-ab71-24588885b7fe" providerId="ADAL" clId="{9FEA2841-5B76-4EDB-8984-1B2D4375FBAF}" dt="2021-07-21T09:11:44.587" v="924" actId="478"/>
          <ac:spMkLst>
            <pc:docMk/>
            <pc:sldMk cId="619177906" sldId="2579"/>
            <ac:spMk id="5126" creationId="{BF2D2108-7AB9-4C70-9BD1-F29FADE5B8E9}"/>
          </ac:spMkLst>
        </pc:spChg>
        <pc:spChg chg="del">
          <ac:chgData name="Müller, Kurt (SI BP S TSS TR)" userId="e7e82c7e-80c6-42a5-ab71-24588885b7fe" providerId="ADAL" clId="{9FEA2841-5B76-4EDB-8984-1B2D4375FBAF}" dt="2021-07-21T09:11:44.587" v="924" actId="478"/>
          <ac:spMkLst>
            <pc:docMk/>
            <pc:sldMk cId="619177906" sldId="2579"/>
            <ac:spMk id="5127" creationId="{EFFE4316-AA5F-4FAB-B5F9-57094213B90D}"/>
          </ac:spMkLst>
        </pc:spChg>
        <pc:spChg chg="del">
          <ac:chgData name="Müller, Kurt (SI BP S TSS TR)" userId="e7e82c7e-80c6-42a5-ab71-24588885b7fe" providerId="ADAL" clId="{9FEA2841-5B76-4EDB-8984-1B2D4375FBAF}" dt="2021-07-21T09:11:44.587" v="924" actId="478"/>
          <ac:spMkLst>
            <pc:docMk/>
            <pc:sldMk cId="619177906" sldId="2579"/>
            <ac:spMk id="5129" creationId="{401BCBC9-B26F-4EB9-882D-4BD4E0230ECD}"/>
          </ac:spMkLst>
        </pc:spChg>
        <pc:spChg chg="del">
          <ac:chgData name="Müller, Kurt (SI BP S TSS TR)" userId="e7e82c7e-80c6-42a5-ab71-24588885b7fe" providerId="ADAL" clId="{9FEA2841-5B76-4EDB-8984-1B2D4375FBAF}" dt="2021-07-21T09:11:44.587" v="924" actId="478"/>
          <ac:spMkLst>
            <pc:docMk/>
            <pc:sldMk cId="619177906" sldId="2579"/>
            <ac:spMk id="5130" creationId="{643D4502-63C1-49A6-B827-F953B90622BC}"/>
          </ac:spMkLst>
        </pc:spChg>
        <pc:spChg chg="del">
          <ac:chgData name="Müller, Kurt (SI BP S TSS TR)" userId="e7e82c7e-80c6-42a5-ab71-24588885b7fe" providerId="ADAL" clId="{9FEA2841-5B76-4EDB-8984-1B2D4375FBAF}" dt="2021-07-21T09:11:44.587" v="924" actId="478"/>
          <ac:spMkLst>
            <pc:docMk/>
            <pc:sldMk cId="619177906" sldId="2579"/>
            <ac:spMk id="5133" creationId="{FD24B05B-A136-42D5-9460-F09E2C0CB8F3}"/>
          </ac:spMkLst>
        </pc:spChg>
        <pc:spChg chg="del">
          <ac:chgData name="Müller, Kurt (SI BP S TSS TR)" userId="e7e82c7e-80c6-42a5-ab71-24588885b7fe" providerId="ADAL" clId="{9FEA2841-5B76-4EDB-8984-1B2D4375FBAF}" dt="2021-07-21T09:11:44.587" v="924" actId="478"/>
          <ac:spMkLst>
            <pc:docMk/>
            <pc:sldMk cId="619177906" sldId="2579"/>
            <ac:spMk id="5134" creationId="{D26F6A7F-A697-4322-B2C8-3F1AA3EEB0D8}"/>
          </ac:spMkLst>
        </pc:spChg>
        <pc:spChg chg="del">
          <ac:chgData name="Müller, Kurt (SI BP S TSS TR)" userId="e7e82c7e-80c6-42a5-ab71-24588885b7fe" providerId="ADAL" clId="{9FEA2841-5B76-4EDB-8984-1B2D4375FBAF}" dt="2021-07-21T09:11:44.587" v="924" actId="478"/>
          <ac:spMkLst>
            <pc:docMk/>
            <pc:sldMk cId="619177906" sldId="2579"/>
            <ac:spMk id="5137" creationId="{EA215408-2965-488A-B51F-3E8F710538C1}"/>
          </ac:spMkLst>
        </pc:spChg>
        <pc:grpChg chg="add mod">
          <ac:chgData name="Müller, Kurt (SI BP S TSS TR)" userId="e7e82c7e-80c6-42a5-ab71-24588885b7fe" providerId="ADAL" clId="{9FEA2841-5B76-4EDB-8984-1B2D4375FBAF}" dt="2021-07-21T09:13:17.859" v="927"/>
          <ac:grpSpMkLst>
            <pc:docMk/>
            <pc:sldMk cId="619177906" sldId="2579"/>
            <ac:grpSpMk id="30" creationId="{26095A56-C188-401C-93D6-049EC5F2A529}"/>
          </ac:grpSpMkLst>
        </pc:grpChg>
        <pc:grpChg chg="add mod">
          <ac:chgData name="Müller, Kurt (SI BP S TSS TR)" userId="e7e82c7e-80c6-42a5-ab71-24588885b7fe" providerId="ADAL" clId="{9FEA2841-5B76-4EDB-8984-1B2D4375FBAF}" dt="2021-07-21T09:13:17.859" v="927"/>
          <ac:grpSpMkLst>
            <pc:docMk/>
            <pc:sldMk cId="619177906" sldId="2579"/>
            <ac:grpSpMk id="62" creationId="{64D61EB7-46B6-4490-96D4-8D2758C08332}"/>
          </ac:grpSpMkLst>
        </pc:grpChg>
        <pc:grpChg chg="add mod">
          <ac:chgData name="Müller, Kurt (SI BP S TSS TR)" userId="e7e82c7e-80c6-42a5-ab71-24588885b7fe" providerId="ADAL" clId="{9FEA2841-5B76-4EDB-8984-1B2D4375FBAF}" dt="2021-07-21T09:13:17.859" v="927"/>
          <ac:grpSpMkLst>
            <pc:docMk/>
            <pc:sldMk cId="619177906" sldId="2579"/>
            <ac:grpSpMk id="65" creationId="{AEB99628-C301-4BA9-BC0D-F254A795073C}"/>
          </ac:grpSpMkLst>
        </pc:grpChg>
        <pc:grpChg chg="add mod">
          <ac:chgData name="Müller, Kurt (SI BP S TSS TR)" userId="e7e82c7e-80c6-42a5-ab71-24588885b7fe" providerId="ADAL" clId="{9FEA2841-5B76-4EDB-8984-1B2D4375FBAF}" dt="2021-07-21T09:13:17.859" v="927"/>
          <ac:grpSpMkLst>
            <pc:docMk/>
            <pc:sldMk cId="619177906" sldId="2579"/>
            <ac:grpSpMk id="68" creationId="{632E14ED-A2BF-46A6-8851-0EA4707CD1E1}"/>
          </ac:grpSpMkLst>
        </pc:grpChg>
        <pc:grpChg chg="add mod">
          <ac:chgData name="Müller, Kurt (SI BP S TSS TR)" userId="e7e82c7e-80c6-42a5-ab71-24588885b7fe" providerId="ADAL" clId="{9FEA2841-5B76-4EDB-8984-1B2D4375FBAF}" dt="2021-07-21T09:13:17.859" v="927"/>
          <ac:grpSpMkLst>
            <pc:docMk/>
            <pc:sldMk cId="619177906" sldId="2579"/>
            <ac:grpSpMk id="71" creationId="{2A9CB0DE-9C0E-4F63-AD4C-61D6AA89D758}"/>
          </ac:grpSpMkLst>
        </pc:grpChg>
        <pc:grpChg chg="add mod">
          <ac:chgData name="Müller, Kurt (SI BP S TSS TR)" userId="e7e82c7e-80c6-42a5-ab71-24588885b7fe" providerId="ADAL" clId="{9FEA2841-5B76-4EDB-8984-1B2D4375FBAF}" dt="2021-07-21T09:13:17.859" v="927"/>
          <ac:grpSpMkLst>
            <pc:docMk/>
            <pc:sldMk cId="619177906" sldId="2579"/>
            <ac:grpSpMk id="86" creationId="{81AB3732-94DA-4DF9-8B53-00C509CB502D}"/>
          </ac:grpSpMkLst>
        </pc:grpChg>
        <pc:grpChg chg="add mod">
          <ac:chgData name="Müller, Kurt (SI BP S TSS TR)" userId="e7e82c7e-80c6-42a5-ab71-24588885b7fe" providerId="ADAL" clId="{9FEA2841-5B76-4EDB-8984-1B2D4375FBAF}" dt="2021-07-21T09:13:17.859" v="927"/>
          <ac:grpSpMkLst>
            <pc:docMk/>
            <pc:sldMk cId="619177906" sldId="2579"/>
            <ac:grpSpMk id="90" creationId="{C2F69268-3DEF-4CE5-803F-3A34FBC4F0FB}"/>
          </ac:grpSpMkLst>
        </pc:grpChg>
        <pc:grpChg chg="del">
          <ac:chgData name="Müller, Kurt (SI BP S TSS TR)" userId="e7e82c7e-80c6-42a5-ab71-24588885b7fe" providerId="ADAL" clId="{9FEA2841-5B76-4EDB-8984-1B2D4375FBAF}" dt="2021-07-21T09:11:44.587" v="924" actId="478"/>
          <ac:grpSpMkLst>
            <pc:docMk/>
            <pc:sldMk cId="619177906" sldId="2579"/>
            <ac:grpSpMk id="5128" creationId="{18574174-F828-41D3-A2F0-72F5CEDBE9D8}"/>
          </ac:grpSpMkLst>
        </pc:grpChg>
        <pc:picChg chg="add mod">
          <ac:chgData name="Müller, Kurt (SI BP S TSS TR)" userId="e7e82c7e-80c6-42a5-ab71-24588885b7fe" providerId="ADAL" clId="{9FEA2841-5B76-4EDB-8984-1B2D4375FBAF}" dt="2021-07-21T09:13:17.859" v="927"/>
          <ac:picMkLst>
            <pc:docMk/>
            <pc:sldMk cId="619177906" sldId="2579"/>
            <ac:picMk id="22" creationId="{FF4B5B91-E9FC-44AF-ADB7-14D14FFBF479}"/>
          </ac:picMkLst>
        </pc:picChg>
        <pc:picChg chg="add mod">
          <ac:chgData name="Müller, Kurt (SI BP S TSS TR)" userId="e7e82c7e-80c6-42a5-ab71-24588885b7fe" providerId="ADAL" clId="{9FEA2841-5B76-4EDB-8984-1B2D4375FBAF}" dt="2021-07-21T09:13:17.859" v="927"/>
          <ac:picMkLst>
            <pc:docMk/>
            <pc:sldMk cId="619177906" sldId="2579"/>
            <ac:picMk id="81" creationId="{5AB840E0-2248-4107-92C2-25FC67544F77}"/>
          </ac:picMkLst>
        </pc:picChg>
        <pc:picChg chg="mod">
          <ac:chgData name="Müller, Kurt (SI BP S TSS TR)" userId="e7e82c7e-80c6-42a5-ab71-24588885b7fe" providerId="ADAL" clId="{9FEA2841-5B76-4EDB-8984-1B2D4375FBAF}" dt="2021-07-21T09:13:17.859" v="927"/>
          <ac:picMkLst>
            <pc:docMk/>
            <pc:sldMk cId="619177906" sldId="2579"/>
            <ac:picMk id="88" creationId="{4C752EED-99D7-4358-A30F-5FE3089B329A}"/>
          </ac:picMkLst>
        </pc:picChg>
        <pc:picChg chg="mod">
          <ac:chgData name="Müller, Kurt (SI BP S TSS TR)" userId="e7e82c7e-80c6-42a5-ab71-24588885b7fe" providerId="ADAL" clId="{9FEA2841-5B76-4EDB-8984-1B2D4375FBAF}" dt="2021-07-21T09:13:17.859" v="927"/>
          <ac:picMkLst>
            <pc:docMk/>
            <pc:sldMk cId="619177906" sldId="2579"/>
            <ac:picMk id="91" creationId="{E224EBB2-4545-4F0E-9F0B-0148CAA2ED1E}"/>
          </ac:picMkLst>
        </pc:picChg>
        <pc:picChg chg="mod">
          <ac:chgData name="Müller, Kurt (SI BP S TSS TR)" userId="e7e82c7e-80c6-42a5-ab71-24588885b7fe" providerId="ADAL" clId="{9FEA2841-5B76-4EDB-8984-1B2D4375FBAF}" dt="2021-07-21T09:13:17.859" v="927"/>
          <ac:picMkLst>
            <pc:docMk/>
            <pc:sldMk cId="619177906" sldId="2579"/>
            <ac:picMk id="93" creationId="{0FE60AFB-F140-4D3B-9212-EA423440A6DF}"/>
          </ac:picMkLst>
        </pc:picChg>
        <pc:picChg chg="add mod">
          <ac:chgData name="Müller, Kurt (SI BP S TSS TR)" userId="e7e82c7e-80c6-42a5-ab71-24588885b7fe" providerId="ADAL" clId="{9FEA2841-5B76-4EDB-8984-1B2D4375FBAF}" dt="2021-07-21T09:13:17.859" v="927"/>
          <ac:picMkLst>
            <pc:docMk/>
            <pc:sldMk cId="619177906" sldId="2579"/>
            <ac:picMk id="94" creationId="{2AE1FC77-C63A-4D90-B0D3-C1C6D54AFF7C}"/>
          </ac:picMkLst>
        </pc:picChg>
        <pc:picChg chg="add mod">
          <ac:chgData name="Müller, Kurt (SI BP S TSS TR)" userId="e7e82c7e-80c6-42a5-ab71-24588885b7fe" providerId="ADAL" clId="{9FEA2841-5B76-4EDB-8984-1B2D4375FBAF}" dt="2021-07-21T09:13:17.859" v="927"/>
          <ac:picMkLst>
            <pc:docMk/>
            <pc:sldMk cId="619177906" sldId="2579"/>
            <ac:picMk id="97" creationId="{B746677F-033B-4494-8AEE-8D0A1293D99C}"/>
          </ac:picMkLst>
        </pc:picChg>
        <pc:picChg chg="add mod">
          <ac:chgData name="Müller, Kurt (SI BP S TSS TR)" userId="e7e82c7e-80c6-42a5-ab71-24588885b7fe" providerId="ADAL" clId="{9FEA2841-5B76-4EDB-8984-1B2D4375FBAF}" dt="2021-07-21T09:13:17.859" v="927"/>
          <ac:picMkLst>
            <pc:docMk/>
            <pc:sldMk cId="619177906" sldId="2579"/>
            <ac:picMk id="98" creationId="{2B1286D7-22B3-4E00-88D5-1928ED7F3A5B}"/>
          </ac:picMkLst>
        </pc:picChg>
        <pc:cxnChg chg="add mod">
          <ac:chgData name="Müller, Kurt (SI BP S TSS TR)" userId="e7e82c7e-80c6-42a5-ab71-24588885b7fe" providerId="ADAL" clId="{9FEA2841-5B76-4EDB-8984-1B2D4375FBAF}" dt="2021-07-21T09:13:17.859" v="927"/>
          <ac:cxnSpMkLst>
            <pc:docMk/>
            <pc:sldMk cId="619177906" sldId="2579"/>
            <ac:cxnSpMk id="29" creationId="{A5E2F7F8-77AE-455A-AC8E-9C7A331CDEFE}"/>
          </ac:cxnSpMkLst>
        </pc:cxnChg>
        <pc:cxnChg chg="add mod">
          <ac:chgData name="Müller, Kurt (SI BP S TSS TR)" userId="e7e82c7e-80c6-42a5-ab71-24588885b7fe" providerId="ADAL" clId="{9FEA2841-5B76-4EDB-8984-1B2D4375FBAF}" dt="2021-07-21T09:13:17.859" v="927"/>
          <ac:cxnSpMkLst>
            <pc:docMk/>
            <pc:sldMk cId="619177906" sldId="2579"/>
            <ac:cxnSpMk id="74" creationId="{331E18E2-D2F5-4508-8383-3E6662817200}"/>
          </ac:cxnSpMkLst>
        </pc:cxnChg>
        <pc:cxnChg chg="add mod">
          <ac:chgData name="Müller, Kurt (SI BP S TSS TR)" userId="e7e82c7e-80c6-42a5-ab71-24588885b7fe" providerId="ADAL" clId="{9FEA2841-5B76-4EDB-8984-1B2D4375FBAF}" dt="2021-07-21T09:13:17.859" v="927"/>
          <ac:cxnSpMkLst>
            <pc:docMk/>
            <pc:sldMk cId="619177906" sldId="2579"/>
            <ac:cxnSpMk id="75" creationId="{2A9F0B9D-7C0D-40B8-80BD-1087CE1F03AB}"/>
          </ac:cxnSpMkLst>
        </pc:cxnChg>
        <pc:cxnChg chg="add mod">
          <ac:chgData name="Müller, Kurt (SI BP S TSS TR)" userId="e7e82c7e-80c6-42a5-ab71-24588885b7fe" providerId="ADAL" clId="{9FEA2841-5B76-4EDB-8984-1B2D4375FBAF}" dt="2021-07-21T09:13:17.859" v="927"/>
          <ac:cxnSpMkLst>
            <pc:docMk/>
            <pc:sldMk cId="619177906" sldId="2579"/>
            <ac:cxnSpMk id="76" creationId="{17C366B3-8454-40D6-AE3D-0FF1D1C2C073}"/>
          </ac:cxnSpMkLst>
        </pc:cxnChg>
        <pc:cxnChg chg="add mod">
          <ac:chgData name="Müller, Kurt (SI BP S TSS TR)" userId="e7e82c7e-80c6-42a5-ab71-24588885b7fe" providerId="ADAL" clId="{9FEA2841-5B76-4EDB-8984-1B2D4375FBAF}" dt="2021-07-21T09:13:17.859" v="927"/>
          <ac:cxnSpMkLst>
            <pc:docMk/>
            <pc:sldMk cId="619177906" sldId="2579"/>
            <ac:cxnSpMk id="77" creationId="{9CCA2FE4-0CC4-4FED-A5F3-ADC835FFB4FB}"/>
          </ac:cxnSpMkLst>
        </pc:cxnChg>
        <pc:cxnChg chg="add mod">
          <ac:chgData name="Müller, Kurt (SI BP S TSS TR)" userId="e7e82c7e-80c6-42a5-ab71-24588885b7fe" providerId="ADAL" clId="{9FEA2841-5B76-4EDB-8984-1B2D4375FBAF}" dt="2021-07-21T09:13:17.859" v="927"/>
          <ac:cxnSpMkLst>
            <pc:docMk/>
            <pc:sldMk cId="619177906" sldId="2579"/>
            <ac:cxnSpMk id="78" creationId="{0E0A23F9-E424-4F35-8692-4D192B721F77}"/>
          </ac:cxnSpMkLst>
        </pc:cxnChg>
        <pc:cxnChg chg="add mod">
          <ac:chgData name="Müller, Kurt (SI BP S TSS TR)" userId="e7e82c7e-80c6-42a5-ab71-24588885b7fe" providerId="ADAL" clId="{9FEA2841-5B76-4EDB-8984-1B2D4375FBAF}" dt="2021-07-21T09:13:17.859" v="927"/>
          <ac:cxnSpMkLst>
            <pc:docMk/>
            <pc:sldMk cId="619177906" sldId="2579"/>
            <ac:cxnSpMk id="79" creationId="{EE20C6FC-00DE-4CE4-AE53-AB86AE6F7828}"/>
          </ac:cxnSpMkLst>
        </pc:cxnChg>
        <pc:cxnChg chg="add mod">
          <ac:chgData name="Müller, Kurt (SI BP S TSS TR)" userId="e7e82c7e-80c6-42a5-ab71-24588885b7fe" providerId="ADAL" clId="{9FEA2841-5B76-4EDB-8984-1B2D4375FBAF}" dt="2021-07-21T09:13:17.859" v="927"/>
          <ac:cxnSpMkLst>
            <pc:docMk/>
            <pc:sldMk cId="619177906" sldId="2579"/>
            <ac:cxnSpMk id="80" creationId="{6BE6C004-E0DA-4959-BD95-93895F12AB89}"/>
          </ac:cxnSpMkLst>
        </pc:cxnChg>
        <pc:cxnChg chg="add mod">
          <ac:chgData name="Müller, Kurt (SI BP S TSS TR)" userId="e7e82c7e-80c6-42a5-ab71-24588885b7fe" providerId="ADAL" clId="{9FEA2841-5B76-4EDB-8984-1B2D4375FBAF}" dt="2021-07-21T09:13:17.859" v="927"/>
          <ac:cxnSpMkLst>
            <pc:docMk/>
            <pc:sldMk cId="619177906" sldId="2579"/>
            <ac:cxnSpMk id="89" creationId="{87787FAD-9786-4465-84EA-24F99D2E03FD}"/>
          </ac:cxnSpMkLst>
        </pc:cxnChg>
        <pc:cxnChg chg="del">
          <ac:chgData name="Müller, Kurt (SI BP S TSS TR)" userId="e7e82c7e-80c6-42a5-ab71-24588885b7fe" providerId="ADAL" clId="{9FEA2841-5B76-4EDB-8984-1B2D4375FBAF}" dt="2021-07-21T09:11:44.587" v="924" actId="478"/>
          <ac:cxnSpMkLst>
            <pc:docMk/>
            <pc:sldMk cId="619177906" sldId="2579"/>
            <ac:cxnSpMk id="5135" creationId="{03475409-509C-4028-B02C-91FF7D77B6CE}"/>
          </ac:cxnSpMkLst>
        </pc:cxnChg>
        <pc:cxnChg chg="del">
          <ac:chgData name="Müller, Kurt (SI BP S TSS TR)" userId="e7e82c7e-80c6-42a5-ab71-24588885b7fe" providerId="ADAL" clId="{9FEA2841-5B76-4EDB-8984-1B2D4375FBAF}" dt="2021-07-21T09:11:44.587" v="924" actId="478"/>
          <ac:cxnSpMkLst>
            <pc:docMk/>
            <pc:sldMk cId="619177906" sldId="2579"/>
            <ac:cxnSpMk id="5136" creationId="{18CCAF14-1139-41C5-9BE0-E9FBA285225B}"/>
          </ac:cxnSpMkLst>
        </pc:cxnChg>
      </pc:sldChg>
      <pc:sldChg chg="add del">
        <pc:chgData name="Müller, Kurt (SI BP S TSS TR)" userId="e7e82c7e-80c6-42a5-ab71-24588885b7fe" providerId="ADAL" clId="{9FEA2841-5B76-4EDB-8984-1B2D4375FBAF}" dt="2021-07-21T09:13:41.839" v="928" actId="47"/>
        <pc:sldMkLst>
          <pc:docMk/>
          <pc:sldMk cId="486961698" sldId="2580"/>
        </pc:sldMkLst>
      </pc:sldChg>
      <pc:sldChg chg="addSp delSp modSp add mod delAnim modAnim">
        <pc:chgData name="Müller, Kurt (SI BP S TSS TR)" userId="e7e82c7e-80c6-42a5-ab71-24588885b7fe" providerId="ADAL" clId="{9FEA2841-5B76-4EDB-8984-1B2D4375FBAF}" dt="2021-07-21T09:29:22.725" v="1161" actId="20577"/>
        <pc:sldMkLst>
          <pc:docMk/>
          <pc:sldMk cId="1582216341" sldId="2580"/>
        </pc:sldMkLst>
        <pc:spChg chg="mod">
          <ac:chgData name="Müller, Kurt (SI BP S TSS TR)" userId="e7e82c7e-80c6-42a5-ab71-24588885b7fe" providerId="ADAL" clId="{9FEA2841-5B76-4EDB-8984-1B2D4375FBAF}" dt="2021-07-21T09:14:06.681" v="957" actId="20577"/>
          <ac:spMkLst>
            <pc:docMk/>
            <pc:sldMk cId="1582216341" sldId="2580"/>
            <ac:spMk id="64" creationId="{CD6BD269-6014-4A7A-AA99-4350DA673629}"/>
          </ac:spMkLst>
        </pc:spChg>
        <pc:spChg chg="mod">
          <ac:chgData name="Müller, Kurt (SI BP S TSS TR)" userId="e7e82c7e-80c6-42a5-ab71-24588885b7fe" providerId="ADAL" clId="{9FEA2841-5B76-4EDB-8984-1B2D4375FBAF}" dt="2021-07-21T09:14:28.219" v="998" actId="20577"/>
          <ac:spMkLst>
            <pc:docMk/>
            <pc:sldMk cId="1582216341" sldId="2580"/>
            <ac:spMk id="67" creationId="{F8F05D59-5F40-4FDF-888E-C9B123DF9085}"/>
          </ac:spMkLst>
        </pc:spChg>
        <pc:spChg chg="mod">
          <ac:chgData name="Müller, Kurt (SI BP S TSS TR)" userId="e7e82c7e-80c6-42a5-ab71-24588885b7fe" providerId="ADAL" clId="{9FEA2841-5B76-4EDB-8984-1B2D4375FBAF}" dt="2021-07-21T09:15:45.700" v="1034" actId="20577"/>
          <ac:spMkLst>
            <pc:docMk/>
            <pc:sldMk cId="1582216341" sldId="2580"/>
            <ac:spMk id="70" creationId="{8E148906-B7F1-4DBA-A18A-AD93679DE0F5}"/>
          </ac:spMkLst>
        </pc:spChg>
        <pc:spChg chg="mod">
          <ac:chgData name="Müller, Kurt (SI BP S TSS TR)" userId="e7e82c7e-80c6-42a5-ab71-24588885b7fe" providerId="ADAL" clId="{9FEA2841-5B76-4EDB-8984-1B2D4375FBAF}" dt="2021-07-21T09:15:13.215" v="1021" actId="20577"/>
          <ac:spMkLst>
            <pc:docMk/>
            <pc:sldMk cId="1582216341" sldId="2580"/>
            <ac:spMk id="73" creationId="{30BDDABC-C8B1-4DED-956B-2911F07925C9}"/>
          </ac:spMkLst>
        </pc:spChg>
        <pc:spChg chg="mod">
          <ac:chgData name="Müller, Kurt (SI BP S TSS TR)" userId="e7e82c7e-80c6-42a5-ab71-24588885b7fe" providerId="ADAL" clId="{9FEA2841-5B76-4EDB-8984-1B2D4375FBAF}" dt="2021-07-21T09:15:59.771" v="1037" actId="1076"/>
          <ac:spMkLst>
            <pc:docMk/>
            <pc:sldMk cId="1582216341" sldId="2580"/>
            <ac:spMk id="92" creationId="{ADE9A5F0-D997-4308-AEE4-84A967311631}"/>
          </ac:spMkLst>
        </pc:spChg>
        <pc:spChg chg="mod">
          <ac:chgData name="Müller, Kurt (SI BP S TSS TR)" userId="e7e82c7e-80c6-42a5-ab71-24588885b7fe" providerId="ADAL" clId="{9FEA2841-5B76-4EDB-8984-1B2D4375FBAF}" dt="2021-07-21T09:29:22.725" v="1161" actId="20577"/>
          <ac:spMkLst>
            <pc:docMk/>
            <pc:sldMk cId="1582216341" sldId="2580"/>
            <ac:spMk id="96" creationId="{F58902F7-74F5-40D2-95E0-489AE3763F2D}"/>
          </ac:spMkLst>
        </pc:spChg>
        <pc:spChg chg="mod">
          <ac:chgData name="Müller, Kurt (SI BP S TSS TR)" userId="e7e82c7e-80c6-42a5-ab71-24588885b7fe" providerId="ADAL" clId="{9FEA2841-5B76-4EDB-8984-1B2D4375FBAF}" dt="2021-07-21T09:16:04.604" v="1038" actId="571"/>
          <ac:spMkLst>
            <pc:docMk/>
            <pc:sldMk cId="1582216341" sldId="2580"/>
            <ac:spMk id="101" creationId="{123B9797-DAB5-49CA-BA6C-FF2D5AEEFA7D}"/>
          </ac:spMkLst>
        </pc:spChg>
        <pc:spChg chg="mod">
          <ac:chgData name="Müller, Kurt (SI BP S TSS TR)" userId="e7e82c7e-80c6-42a5-ab71-24588885b7fe" providerId="ADAL" clId="{9FEA2841-5B76-4EDB-8984-1B2D4375FBAF}" dt="2021-07-21T09:16:35.914" v="1046" actId="1076"/>
          <ac:spMkLst>
            <pc:docMk/>
            <pc:sldMk cId="1582216341" sldId="2580"/>
            <ac:spMk id="105" creationId="{EAAAADEE-4B0E-4D5A-91E0-8A4CB6A150AC}"/>
          </ac:spMkLst>
        </pc:spChg>
        <pc:grpChg chg="del">
          <ac:chgData name="Müller, Kurt (SI BP S TSS TR)" userId="e7e82c7e-80c6-42a5-ab71-24588885b7fe" providerId="ADAL" clId="{9FEA2841-5B76-4EDB-8984-1B2D4375FBAF}" dt="2021-07-21T09:15:21.178" v="1023" actId="478"/>
          <ac:grpSpMkLst>
            <pc:docMk/>
            <pc:sldMk cId="1582216341" sldId="2580"/>
            <ac:grpSpMk id="86" creationId="{81AB3732-94DA-4DF9-8B53-00C509CB502D}"/>
          </ac:grpSpMkLst>
        </pc:grpChg>
        <pc:grpChg chg="mod">
          <ac:chgData name="Müller, Kurt (SI BP S TSS TR)" userId="e7e82c7e-80c6-42a5-ab71-24588885b7fe" providerId="ADAL" clId="{9FEA2841-5B76-4EDB-8984-1B2D4375FBAF}" dt="2021-07-21T09:15:59.771" v="1037" actId="1076"/>
          <ac:grpSpMkLst>
            <pc:docMk/>
            <pc:sldMk cId="1582216341" sldId="2580"/>
            <ac:grpSpMk id="90" creationId="{C2F69268-3DEF-4CE5-803F-3A34FBC4F0FB}"/>
          </ac:grpSpMkLst>
        </pc:grpChg>
        <pc:grpChg chg="add del mod">
          <ac:chgData name="Müller, Kurt (SI BP S TSS TR)" userId="e7e82c7e-80c6-42a5-ab71-24588885b7fe" providerId="ADAL" clId="{9FEA2841-5B76-4EDB-8984-1B2D4375FBAF}" dt="2021-07-21T09:16:13.954" v="1042" actId="478"/>
          <ac:grpSpMkLst>
            <pc:docMk/>
            <pc:sldMk cId="1582216341" sldId="2580"/>
            <ac:grpSpMk id="99" creationId="{A9F59D3D-63E9-4790-AFC4-CE72CC9D78C7}"/>
          </ac:grpSpMkLst>
        </pc:grpChg>
        <pc:grpChg chg="add mod">
          <ac:chgData name="Müller, Kurt (SI BP S TSS TR)" userId="e7e82c7e-80c6-42a5-ab71-24588885b7fe" providerId="ADAL" clId="{9FEA2841-5B76-4EDB-8984-1B2D4375FBAF}" dt="2021-07-21T09:16:33.907" v="1045" actId="1076"/>
          <ac:grpSpMkLst>
            <pc:docMk/>
            <pc:sldMk cId="1582216341" sldId="2580"/>
            <ac:grpSpMk id="103" creationId="{06416681-DEBC-4A14-822A-5697981C90D8}"/>
          </ac:grpSpMkLst>
        </pc:grpChg>
        <pc:picChg chg="mod">
          <ac:chgData name="Müller, Kurt (SI BP S TSS TR)" userId="e7e82c7e-80c6-42a5-ab71-24588885b7fe" providerId="ADAL" clId="{9FEA2841-5B76-4EDB-8984-1B2D4375FBAF}" dt="2021-07-21T09:15:59.771" v="1037" actId="1076"/>
          <ac:picMkLst>
            <pc:docMk/>
            <pc:sldMk cId="1582216341" sldId="2580"/>
            <ac:picMk id="91" creationId="{E224EBB2-4545-4F0E-9F0B-0148CAA2ED1E}"/>
          </ac:picMkLst>
        </pc:picChg>
        <pc:picChg chg="mod">
          <ac:chgData name="Müller, Kurt (SI BP S TSS TR)" userId="e7e82c7e-80c6-42a5-ab71-24588885b7fe" providerId="ADAL" clId="{9FEA2841-5B76-4EDB-8984-1B2D4375FBAF}" dt="2021-07-21T09:15:59.771" v="1037" actId="1076"/>
          <ac:picMkLst>
            <pc:docMk/>
            <pc:sldMk cId="1582216341" sldId="2580"/>
            <ac:picMk id="93" creationId="{0FE60AFB-F140-4D3B-9212-EA423440A6DF}"/>
          </ac:picMkLst>
        </pc:picChg>
        <pc:picChg chg="del">
          <ac:chgData name="Müller, Kurt (SI BP S TSS TR)" userId="e7e82c7e-80c6-42a5-ab71-24588885b7fe" providerId="ADAL" clId="{9FEA2841-5B76-4EDB-8984-1B2D4375FBAF}" dt="2021-07-21T09:15:50.256" v="1036" actId="478"/>
          <ac:picMkLst>
            <pc:docMk/>
            <pc:sldMk cId="1582216341" sldId="2580"/>
            <ac:picMk id="94" creationId="{2AE1FC77-C63A-4D90-B0D3-C1C6D54AFF7C}"/>
          </ac:picMkLst>
        </pc:picChg>
        <pc:picChg chg="del">
          <ac:chgData name="Müller, Kurt (SI BP S TSS TR)" userId="e7e82c7e-80c6-42a5-ab71-24588885b7fe" providerId="ADAL" clId="{9FEA2841-5B76-4EDB-8984-1B2D4375FBAF}" dt="2021-07-21T09:15:49.285" v="1035" actId="478"/>
          <ac:picMkLst>
            <pc:docMk/>
            <pc:sldMk cId="1582216341" sldId="2580"/>
            <ac:picMk id="97" creationId="{B746677F-033B-4494-8AEE-8D0A1293D99C}"/>
          </ac:picMkLst>
        </pc:picChg>
        <pc:picChg chg="del">
          <ac:chgData name="Müller, Kurt (SI BP S TSS TR)" userId="e7e82c7e-80c6-42a5-ab71-24588885b7fe" providerId="ADAL" clId="{9FEA2841-5B76-4EDB-8984-1B2D4375FBAF}" dt="2021-07-21T09:15:19.762" v="1022" actId="478"/>
          <ac:picMkLst>
            <pc:docMk/>
            <pc:sldMk cId="1582216341" sldId="2580"/>
            <ac:picMk id="98" creationId="{2B1286D7-22B3-4E00-88D5-1928ED7F3A5B}"/>
          </ac:picMkLst>
        </pc:picChg>
        <pc:picChg chg="mod">
          <ac:chgData name="Müller, Kurt (SI BP S TSS TR)" userId="e7e82c7e-80c6-42a5-ab71-24588885b7fe" providerId="ADAL" clId="{9FEA2841-5B76-4EDB-8984-1B2D4375FBAF}" dt="2021-07-21T09:16:04.604" v="1038" actId="571"/>
          <ac:picMkLst>
            <pc:docMk/>
            <pc:sldMk cId="1582216341" sldId="2580"/>
            <ac:picMk id="100" creationId="{228CF409-5D3C-4C11-8057-49C36773BCF6}"/>
          </ac:picMkLst>
        </pc:picChg>
        <pc:picChg chg="del mod">
          <ac:chgData name="Müller, Kurt (SI BP S TSS TR)" userId="e7e82c7e-80c6-42a5-ab71-24588885b7fe" providerId="ADAL" clId="{9FEA2841-5B76-4EDB-8984-1B2D4375FBAF}" dt="2021-07-21T09:16:06.924" v="1039" actId="478"/>
          <ac:picMkLst>
            <pc:docMk/>
            <pc:sldMk cId="1582216341" sldId="2580"/>
            <ac:picMk id="102" creationId="{3B0B3C47-3A9B-413B-842D-2318A48187A5}"/>
          </ac:picMkLst>
        </pc:picChg>
        <pc:picChg chg="mod">
          <ac:chgData name="Müller, Kurt (SI BP S TSS TR)" userId="e7e82c7e-80c6-42a5-ab71-24588885b7fe" providerId="ADAL" clId="{9FEA2841-5B76-4EDB-8984-1B2D4375FBAF}" dt="2021-07-21T09:16:33.907" v="1045" actId="1076"/>
          <ac:picMkLst>
            <pc:docMk/>
            <pc:sldMk cId="1582216341" sldId="2580"/>
            <ac:picMk id="104" creationId="{BE8130DF-6189-43B5-964A-1D059B7B9B4E}"/>
          </ac:picMkLst>
        </pc:picChg>
        <pc:picChg chg="mod">
          <ac:chgData name="Müller, Kurt (SI BP S TSS TR)" userId="e7e82c7e-80c6-42a5-ab71-24588885b7fe" providerId="ADAL" clId="{9FEA2841-5B76-4EDB-8984-1B2D4375FBAF}" dt="2021-07-21T09:16:38.066" v="1047" actId="1076"/>
          <ac:picMkLst>
            <pc:docMk/>
            <pc:sldMk cId="1582216341" sldId="2580"/>
            <ac:picMk id="106" creationId="{3C490367-991A-4B83-8B89-C11B481CE4F7}"/>
          </ac:picMkLst>
        </pc:picChg>
      </pc:sldChg>
      <pc:sldChg chg="addSp delSp modSp add del mod modAnim">
        <pc:chgData name="Müller, Kurt (SI BP S TSS TR)" userId="e7e82c7e-80c6-42a5-ab71-24588885b7fe" providerId="ADAL" clId="{9FEA2841-5B76-4EDB-8984-1B2D4375FBAF}" dt="2021-07-21T09:33:59.774" v="1418" actId="47"/>
        <pc:sldMkLst>
          <pc:docMk/>
          <pc:sldMk cId="675333067" sldId="2581"/>
        </pc:sldMkLst>
        <pc:spChg chg="del">
          <ac:chgData name="Müller, Kurt (SI BP S TSS TR)" userId="e7e82c7e-80c6-42a5-ab71-24588885b7fe" providerId="ADAL" clId="{9FEA2841-5B76-4EDB-8984-1B2D4375FBAF}" dt="2021-07-21T09:17:46.827" v="1051" actId="478"/>
          <ac:spMkLst>
            <pc:docMk/>
            <pc:sldMk cId="675333067" sldId="2581"/>
            <ac:spMk id="26" creationId="{D156A09B-5964-4879-BD5F-CD0C5FE89F5E}"/>
          </ac:spMkLst>
        </pc:spChg>
        <pc:spChg chg="del">
          <ac:chgData name="Müller, Kurt (SI BP S TSS TR)" userId="e7e82c7e-80c6-42a5-ab71-24588885b7fe" providerId="ADAL" clId="{9FEA2841-5B76-4EDB-8984-1B2D4375FBAF}" dt="2021-07-21T09:17:46.827" v="1051" actId="478"/>
          <ac:spMkLst>
            <pc:docMk/>
            <pc:sldMk cId="675333067" sldId="2581"/>
            <ac:spMk id="82" creationId="{D650E5B4-E691-4585-B7CE-0B8CCD3D74AE}"/>
          </ac:spMkLst>
        </pc:spChg>
        <pc:spChg chg="del">
          <ac:chgData name="Müller, Kurt (SI BP S TSS TR)" userId="e7e82c7e-80c6-42a5-ab71-24588885b7fe" providerId="ADAL" clId="{9FEA2841-5B76-4EDB-8984-1B2D4375FBAF}" dt="2021-07-21T09:17:46.827" v="1051" actId="478"/>
          <ac:spMkLst>
            <pc:docMk/>
            <pc:sldMk cId="675333067" sldId="2581"/>
            <ac:spMk id="83" creationId="{128BF1FF-3A83-4943-88CD-5563F1F857D5}"/>
          </ac:spMkLst>
        </pc:spChg>
        <pc:spChg chg="del">
          <ac:chgData name="Müller, Kurt (SI BP S TSS TR)" userId="e7e82c7e-80c6-42a5-ab71-24588885b7fe" providerId="ADAL" clId="{9FEA2841-5B76-4EDB-8984-1B2D4375FBAF}" dt="2021-07-21T09:17:46.827" v="1051" actId="478"/>
          <ac:spMkLst>
            <pc:docMk/>
            <pc:sldMk cId="675333067" sldId="2581"/>
            <ac:spMk id="84" creationId="{ABA1C98E-08D0-4C87-BB3C-71FF94D44677}"/>
          </ac:spMkLst>
        </pc:spChg>
        <pc:spChg chg="del mod">
          <ac:chgData name="Müller, Kurt (SI BP S TSS TR)" userId="e7e82c7e-80c6-42a5-ab71-24588885b7fe" providerId="ADAL" clId="{9FEA2841-5B76-4EDB-8984-1B2D4375FBAF}" dt="2021-07-21T09:17:46.827" v="1051" actId="478"/>
          <ac:spMkLst>
            <pc:docMk/>
            <pc:sldMk cId="675333067" sldId="2581"/>
            <ac:spMk id="85" creationId="{1211C9B7-C63A-463A-9B30-FEAFCD0CEFDB}"/>
          </ac:spMkLst>
        </pc:spChg>
        <pc:spChg chg="add mod">
          <ac:chgData name="Müller, Kurt (SI BP S TSS TR)" userId="e7e82c7e-80c6-42a5-ab71-24588885b7fe" providerId="ADAL" clId="{9FEA2841-5B76-4EDB-8984-1B2D4375FBAF}" dt="2021-07-21T09:33:12.203" v="1394"/>
          <ac:spMkLst>
            <pc:docMk/>
            <pc:sldMk cId="675333067" sldId="2581"/>
            <ac:spMk id="86" creationId="{914976CA-8CE5-43D8-84AC-907B366ED07A}"/>
          </ac:spMkLst>
        </pc:spChg>
        <pc:spChg chg="add mod">
          <ac:chgData name="Müller, Kurt (SI BP S TSS TR)" userId="e7e82c7e-80c6-42a5-ab71-24588885b7fe" providerId="ADAL" clId="{9FEA2841-5B76-4EDB-8984-1B2D4375FBAF}" dt="2021-07-21T09:33:12.203" v="1394"/>
          <ac:spMkLst>
            <pc:docMk/>
            <pc:sldMk cId="675333067" sldId="2581"/>
            <ac:spMk id="87" creationId="{5A6DA72C-8306-4560-91D6-A08605A877AC}"/>
          </ac:spMkLst>
        </pc:spChg>
        <pc:spChg chg="add mod">
          <ac:chgData name="Müller, Kurt (SI BP S TSS TR)" userId="e7e82c7e-80c6-42a5-ab71-24588885b7fe" providerId="ADAL" clId="{9FEA2841-5B76-4EDB-8984-1B2D4375FBAF}" dt="2021-07-21T09:33:12.203" v="1394"/>
          <ac:spMkLst>
            <pc:docMk/>
            <pc:sldMk cId="675333067" sldId="2581"/>
            <ac:spMk id="88" creationId="{74CB6B46-F1F0-484E-95D8-0F1EC123D222}"/>
          </ac:spMkLst>
        </pc:spChg>
        <pc:spChg chg="add mod">
          <ac:chgData name="Müller, Kurt (SI BP S TSS TR)" userId="e7e82c7e-80c6-42a5-ab71-24588885b7fe" providerId="ADAL" clId="{9FEA2841-5B76-4EDB-8984-1B2D4375FBAF}" dt="2021-07-21T09:33:12.203" v="1394"/>
          <ac:spMkLst>
            <pc:docMk/>
            <pc:sldMk cId="675333067" sldId="2581"/>
            <ac:spMk id="94" creationId="{386538CC-69E8-4664-BBDC-C919D87A08BE}"/>
          </ac:spMkLst>
        </pc:spChg>
        <pc:spChg chg="mod">
          <ac:chgData name="Müller, Kurt (SI BP S TSS TR)" userId="e7e82c7e-80c6-42a5-ab71-24588885b7fe" providerId="ADAL" clId="{9FEA2841-5B76-4EDB-8984-1B2D4375FBAF}" dt="2021-07-21T09:30:05.917" v="1214" actId="20577"/>
          <ac:spMkLst>
            <pc:docMk/>
            <pc:sldMk cId="675333067" sldId="2581"/>
            <ac:spMk id="96" creationId="{F58902F7-74F5-40D2-95E0-489AE3763F2D}"/>
          </ac:spMkLst>
        </pc:spChg>
        <pc:grpChg chg="del">
          <ac:chgData name="Müller, Kurt (SI BP S TSS TR)" userId="e7e82c7e-80c6-42a5-ab71-24588885b7fe" providerId="ADAL" clId="{9FEA2841-5B76-4EDB-8984-1B2D4375FBAF}" dt="2021-07-21T09:17:46.827" v="1051" actId="478"/>
          <ac:grpSpMkLst>
            <pc:docMk/>
            <pc:sldMk cId="675333067" sldId="2581"/>
            <ac:grpSpMk id="30" creationId="{26095A56-C188-401C-93D6-049EC5F2A529}"/>
          </ac:grpSpMkLst>
        </pc:grpChg>
        <pc:grpChg chg="del">
          <ac:chgData name="Müller, Kurt (SI BP S TSS TR)" userId="e7e82c7e-80c6-42a5-ab71-24588885b7fe" providerId="ADAL" clId="{9FEA2841-5B76-4EDB-8984-1B2D4375FBAF}" dt="2021-07-21T09:17:46.827" v="1051" actId="478"/>
          <ac:grpSpMkLst>
            <pc:docMk/>
            <pc:sldMk cId="675333067" sldId="2581"/>
            <ac:grpSpMk id="62" creationId="{64D61EB7-46B6-4490-96D4-8D2758C08332}"/>
          </ac:grpSpMkLst>
        </pc:grpChg>
        <pc:grpChg chg="del">
          <ac:chgData name="Müller, Kurt (SI BP S TSS TR)" userId="e7e82c7e-80c6-42a5-ab71-24588885b7fe" providerId="ADAL" clId="{9FEA2841-5B76-4EDB-8984-1B2D4375FBAF}" dt="2021-07-21T09:17:46.827" v="1051" actId="478"/>
          <ac:grpSpMkLst>
            <pc:docMk/>
            <pc:sldMk cId="675333067" sldId="2581"/>
            <ac:grpSpMk id="65" creationId="{AEB99628-C301-4BA9-BC0D-F254A795073C}"/>
          </ac:grpSpMkLst>
        </pc:grpChg>
        <pc:grpChg chg="del">
          <ac:chgData name="Müller, Kurt (SI BP S TSS TR)" userId="e7e82c7e-80c6-42a5-ab71-24588885b7fe" providerId="ADAL" clId="{9FEA2841-5B76-4EDB-8984-1B2D4375FBAF}" dt="2021-07-21T09:17:46.827" v="1051" actId="478"/>
          <ac:grpSpMkLst>
            <pc:docMk/>
            <pc:sldMk cId="675333067" sldId="2581"/>
            <ac:grpSpMk id="68" creationId="{632E14ED-A2BF-46A6-8851-0EA4707CD1E1}"/>
          </ac:grpSpMkLst>
        </pc:grpChg>
        <pc:grpChg chg="del">
          <ac:chgData name="Müller, Kurt (SI BP S TSS TR)" userId="e7e82c7e-80c6-42a5-ab71-24588885b7fe" providerId="ADAL" clId="{9FEA2841-5B76-4EDB-8984-1B2D4375FBAF}" dt="2021-07-21T09:17:46.827" v="1051" actId="478"/>
          <ac:grpSpMkLst>
            <pc:docMk/>
            <pc:sldMk cId="675333067" sldId="2581"/>
            <ac:grpSpMk id="71" creationId="{2A9CB0DE-9C0E-4F63-AD4C-61D6AA89D758}"/>
          </ac:grpSpMkLst>
        </pc:grpChg>
        <pc:grpChg chg="del">
          <ac:chgData name="Müller, Kurt (SI BP S TSS TR)" userId="e7e82c7e-80c6-42a5-ab71-24588885b7fe" providerId="ADAL" clId="{9FEA2841-5B76-4EDB-8984-1B2D4375FBAF}" dt="2021-07-21T09:17:46.827" v="1051" actId="478"/>
          <ac:grpSpMkLst>
            <pc:docMk/>
            <pc:sldMk cId="675333067" sldId="2581"/>
            <ac:grpSpMk id="90" creationId="{C2F69268-3DEF-4CE5-803F-3A34FBC4F0FB}"/>
          </ac:grpSpMkLst>
        </pc:grpChg>
        <pc:grpChg chg="del">
          <ac:chgData name="Müller, Kurt (SI BP S TSS TR)" userId="e7e82c7e-80c6-42a5-ab71-24588885b7fe" providerId="ADAL" clId="{9FEA2841-5B76-4EDB-8984-1B2D4375FBAF}" dt="2021-07-21T09:17:46.827" v="1051" actId="478"/>
          <ac:grpSpMkLst>
            <pc:docMk/>
            <pc:sldMk cId="675333067" sldId="2581"/>
            <ac:grpSpMk id="103" creationId="{06416681-DEBC-4A14-822A-5697981C90D8}"/>
          </ac:grpSpMkLst>
        </pc:grpChg>
        <pc:picChg chg="del">
          <ac:chgData name="Müller, Kurt (SI BP S TSS TR)" userId="e7e82c7e-80c6-42a5-ab71-24588885b7fe" providerId="ADAL" clId="{9FEA2841-5B76-4EDB-8984-1B2D4375FBAF}" dt="2021-07-21T09:17:42.822" v="1049" actId="478"/>
          <ac:picMkLst>
            <pc:docMk/>
            <pc:sldMk cId="675333067" sldId="2581"/>
            <ac:picMk id="22" creationId="{FF4B5B91-E9FC-44AF-ADB7-14D14FFBF479}"/>
          </ac:picMkLst>
        </pc:picChg>
        <pc:picChg chg="del">
          <ac:chgData name="Müller, Kurt (SI BP S TSS TR)" userId="e7e82c7e-80c6-42a5-ab71-24588885b7fe" providerId="ADAL" clId="{9FEA2841-5B76-4EDB-8984-1B2D4375FBAF}" dt="2021-07-21T09:17:46.827" v="1051" actId="478"/>
          <ac:picMkLst>
            <pc:docMk/>
            <pc:sldMk cId="675333067" sldId="2581"/>
            <ac:picMk id="81" creationId="{5AB840E0-2248-4107-92C2-25FC67544F77}"/>
          </ac:picMkLst>
        </pc:picChg>
        <pc:cxnChg chg="del">
          <ac:chgData name="Müller, Kurt (SI BP S TSS TR)" userId="e7e82c7e-80c6-42a5-ab71-24588885b7fe" providerId="ADAL" clId="{9FEA2841-5B76-4EDB-8984-1B2D4375FBAF}" dt="2021-07-21T09:17:46.827" v="1051" actId="478"/>
          <ac:cxnSpMkLst>
            <pc:docMk/>
            <pc:sldMk cId="675333067" sldId="2581"/>
            <ac:cxnSpMk id="74" creationId="{331E18E2-D2F5-4508-8383-3E6662817200}"/>
          </ac:cxnSpMkLst>
        </pc:cxnChg>
        <pc:cxnChg chg="del">
          <ac:chgData name="Müller, Kurt (SI BP S TSS TR)" userId="e7e82c7e-80c6-42a5-ab71-24588885b7fe" providerId="ADAL" clId="{9FEA2841-5B76-4EDB-8984-1B2D4375FBAF}" dt="2021-07-21T09:17:46.827" v="1051" actId="478"/>
          <ac:cxnSpMkLst>
            <pc:docMk/>
            <pc:sldMk cId="675333067" sldId="2581"/>
            <ac:cxnSpMk id="75" creationId="{2A9F0B9D-7C0D-40B8-80BD-1087CE1F03AB}"/>
          </ac:cxnSpMkLst>
        </pc:cxnChg>
        <pc:cxnChg chg="del">
          <ac:chgData name="Müller, Kurt (SI BP S TSS TR)" userId="e7e82c7e-80c6-42a5-ab71-24588885b7fe" providerId="ADAL" clId="{9FEA2841-5B76-4EDB-8984-1B2D4375FBAF}" dt="2021-07-21T09:17:46.827" v="1051" actId="478"/>
          <ac:cxnSpMkLst>
            <pc:docMk/>
            <pc:sldMk cId="675333067" sldId="2581"/>
            <ac:cxnSpMk id="76" creationId="{17C366B3-8454-40D6-AE3D-0FF1D1C2C073}"/>
          </ac:cxnSpMkLst>
        </pc:cxnChg>
        <pc:cxnChg chg="del">
          <ac:chgData name="Müller, Kurt (SI BP S TSS TR)" userId="e7e82c7e-80c6-42a5-ab71-24588885b7fe" providerId="ADAL" clId="{9FEA2841-5B76-4EDB-8984-1B2D4375FBAF}" dt="2021-07-21T09:17:46.827" v="1051" actId="478"/>
          <ac:cxnSpMkLst>
            <pc:docMk/>
            <pc:sldMk cId="675333067" sldId="2581"/>
            <ac:cxnSpMk id="77" creationId="{9CCA2FE4-0CC4-4FED-A5F3-ADC835FFB4FB}"/>
          </ac:cxnSpMkLst>
        </pc:cxnChg>
        <pc:cxnChg chg="del">
          <ac:chgData name="Müller, Kurt (SI BP S TSS TR)" userId="e7e82c7e-80c6-42a5-ab71-24588885b7fe" providerId="ADAL" clId="{9FEA2841-5B76-4EDB-8984-1B2D4375FBAF}" dt="2021-07-21T09:17:46.827" v="1051" actId="478"/>
          <ac:cxnSpMkLst>
            <pc:docMk/>
            <pc:sldMk cId="675333067" sldId="2581"/>
            <ac:cxnSpMk id="78" creationId="{0E0A23F9-E424-4F35-8692-4D192B721F77}"/>
          </ac:cxnSpMkLst>
        </pc:cxnChg>
        <pc:cxnChg chg="del">
          <ac:chgData name="Müller, Kurt (SI BP S TSS TR)" userId="e7e82c7e-80c6-42a5-ab71-24588885b7fe" providerId="ADAL" clId="{9FEA2841-5B76-4EDB-8984-1B2D4375FBAF}" dt="2021-07-21T09:17:46.827" v="1051" actId="478"/>
          <ac:cxnSpMkLst>
            <pc:docMk/>
            <pc:sldMk cId="675333067" sldId="2581"/>
            <ac:cxnSpMk id="79" creationId="{EE20C6FC-00DE-4CE4-AE53-AB86AE6F7828}"/>
          </ac:cxnSpMkLst>
        </pc:cxnChg>
        <pc:cxnChg chg="del">
          <ac:chgData name="Müller, Kurt (SI BP S TSS TR)" userId="e7e82c7e-80c6-42a5-ab71-24588885b7fe" providerId="ADAL" clId="{9FEA2841-5B76-4EDB-8984-1B2D4375FBAF}" dt="2021-07-21T09:17:46.827" v="1051" actId="478"/>
          <ac:cxnSpMkLst>
            <pc:docMk/>
            <pc:sldMk cId="675333067" sldId="2581"/>
            <ac:cxnSpMk id="80" creationId="{6BE6C004-E0DA-4959-BD95-93895F12AB89}"/>
          </ac:cxnSpMkLst>
        </pc:cxnChg>
        <pc:cxnChg chg="del">
          <ac:chgData name="Müller, Kurt (SI BP S TSS TR)" userId="e7e82c7e-80c6-42a5-ab71-24588885b7fe" providerId="ADAL" clId="{9FEA2841-5B76-4EDB-8984-1B2D4375FBAF}" dt="2021-07-21T09:17:46.827" v="1051" actId="478"/>
          <ac:cxnSpMkLst>
            <pc:docMk/>
            <pc:sldMk cId="675333067" sldId="2581"/>
            <ac:cxnSpMk id="89" creationId="{87787FAD-9786-4465-84EA-24F99D2E03FD}"/>
          </ac:cxnSpMkLst>
        </pc:cxnChg>
      </pc:sldChg>
      <pc:sldChg chg="addSp modSp add mod">
        <pc:chgData name="Müller, Kurt (SI BP S TSS TR)" userId="e7e82c7e-80c6-42a5-ab71-24588885b7fe" providerId="ADAL" clId="{9FEA2841-5B76-4EDB-8984-1B2D4375FBAF}" dt="2021-07-21T09:36:37.681" v="1434" actId="20577"/>
        <pc:sldMkLst>
          <pc:docMk/>
          <pc:sldMk cId="2389844200" sldId="2582"/>
        </pc:sldMkLst>
        <pc:spChg chg="add mod">
          <ac:chgData name="Müller, Kurt (SI BP S TSS TR)" userId="e7e82c7e-80c6-42a5-ab71-24588885b7fe" providerId="ADAL" clId="{9FEA2841-5B76-4EDB-8984-1B2D4375FBAF}" dt="2021-07-21T09:36:37.681" v="1434" actId="20577"/>
          <ac:spMkLst>
            <pc:docMk/>
            <pc:sldMk cId="2389844200" sldId="2582"/>
            <ac:spMk id="7" creationId="{F1C72932-A1AF-414C-AA2E-197BBE995B80}"/>
          </ac:spMkLst>
        </pc:spChg>
        <pc:spChg chg="mod">
          <ac:chgData name="Müller, Kurt (SI BP S TSS TR)" userId="e7e82c7e-80c6-42a5-ab71-24588885b7fe" providerId="ADAL" clId="{9FEA2841-5B76-4EDB-8984-1B2D4375FBAF}" dt="2021-07-21T09:28:43.618" v="1121" actId="20577"/>
          <ac:spMkLst>
            <pc:docMk/>
            <pc:sldMk cId="2389844200" sldId="2582"/>
            <ac:spMk id="96" creationId="{F58902F7-74F5-40D2-95E0-489AE3763F2D}"/>
          </ac:spMkLst>
        </pc:spChg>
      </pc:sldChg>
      <pc:sldChg chg="modSp add mod">
        <pc:chgData name="Müller, Kurt (SI BP S TSS TR)" userId="e7e82c7e-80c6-42a5-ab71-24588885b7fe" providerId="ADAL" clId="{9FEA2841-5B76-4EDB-8984-1B2D4375FBAF}" dt="2021-07-21T09:29:01.159" v="1152" actId="20577"/>
        <pc:sldMkLst>
          <pc:docMk/>
          <pc:sldMk cId="1402478112" sldId="2583"/>
        </pc:sldMkLst>
        <pc:spChg chg="mod">
          <ac:chgData name="Müller, Kurt (SI BP S TSS TR)" userId="e7e82c7e-80c6-42a5-ab71-24588885b7fe" providerId="ADAL" clId="{9FEA2841-5B76-4EDB-8984-1B2D4375FBAF}" dt="2021-07-21T09:29:01.159" v="1152" actId="20577"/>
          <ac:spMkLst>
            <pc:docMk/>
            <pc:sldMk cId="1402478112" sldId="2583"/>
            <ac:spMk id="96" creationId="{F58902F7-74F5-40D2-95E0-489AE3763F2D}"/>
          </ac:spMkLst>
        </pc:spChg>
      </pc:sldChg>
      <pc:sldChg chg="addSp modSp add del mod">
        <pc:chgData name="Müller, Kurt (SI BP S TSS TR)" userId="e7e82c7e-80c6-42a5-ab71-24588885b7fe" providerId="ADAL" clId="{9FEA2841-5B76-4EDB-8984-1B2D4375FBAF}" dt="2021-07-21T09:48:50.917" v="1554" actId="47"/>
        <pc:sldMkLst>
          <pc:docMk/>
          <pc:sldMk cId="632425367" sldId="2584"/>
        </pc:sldMkLst>
        <pc:spChg chg="add mod">
          <ac:chgData name="Müller, Kurt (SI BP S TSS TR)" userId="e7e82c7e-80c6-42a5-ab71-24588885b7fe" providerId="ADAL" clId="{9FEA2841-5B76-4EDB-8984-1B2D4375FBAF}" dt="2021-07-21T09:31:39.424" v="1325" actId="255"/>
          <ac:spMkLst>
            <pc:docMk/>
            <pc:sldMk cId="632425367" sldId="2584"/>
            <ac:spMk id="2" creationId="{CE9460E2-A04D-4F66-BAF0-FCE19DC25EB7}"/>
          </ac:spMkLst>
        </pc:spChg>
        <pc:spChg chg="add mod">
          <ac:chgData name="Müller, Kurt (SI BP S TSS TR)" userId="e7e82c7e-80c6-42a5-ab71-24588885b7fe" providerId="ADAL" clId="{9FEA2841-5B76-4EDB-8984-1B2D4375FBAF}" dt="2021-07-21T09:31:51.827" v="1354" actId="20577"/>
          <ac:spMkLst>
            <pc:docMk/>
            <pc:sldMk cId="632425367" sldId="2584"/>
            <ac:spMk id="8" creationId="{3744292D-DD5C-4D03-BFED-162993104A50}"/>
          </ac:spMkLst>
        </pc:spChg>
        <pc:spChg chg="add mod">
          <ac:chgData name="Müller, Kurt (SI BP S TSS TR)" userId="e7e82c7e-80c6-42a5-ab71-24588885b7fe" providerId="ADAL" clId="{9FEA2841-5B76-4EDB-8984-1B2D4375FBAF}" dt="2021-07-21T09:32:27.691" v="1383" actId="20577"/>
          <ac:spMkLst>
            <pc:docMk/>
            <pc:sldMk cId="632425367" sldId="2584"/>
            <ac:spMk id="9" creationId="{50282AF0-7F1C-4A5B-ADD1-D31C4EE53CCB}"/>
          </ac:spMkLst>
        </pc:spChg>
        <pc:spChg chg="add mod">
          <ac:chgData name="Müller, Kurt (SI BP S TSS TR)" userId="e7e82c7e-80c6-42a5-ab71-24588885b7fe" providerId="ADAL" clId="{9FEA2841-5B76-4EDB-8984-1B2D4375FBAF}" dt="2021-07-21T09:35:03.370" v="1421" actId="20577"/>
          <ac:spMkLst>
            <pc:docMk/>
            <pc:sldMk cId="632425367" sldId="2584"/>
            <ac:spMk id="10" creationId="{98E4B6BE-5B6C-4444-8498-B5A71CBE8D90}"/>
          </ac:spMkLst>
        </pc:spChg>
        <pc:spChg chg="add mod">
          <ac:chgData name="Müller, Kurt (SI BP S TSS TR)" userId="e7e82c7e-80c6-42a5-ab71-24588885b7fe" providerId="ADAL" clId="{9FEA2841-5B76-4EDB-8984-1B2D4375FBAF}" dt="2021-07-21T09:34:24.317" v="1420" actId="20577"/>
          <ac:spMkLst>
            <pc:docMk/>
            <pc:sldMk cId="632425367" sldId="2584"/>
            <ac:spMk id="11" creationId="{09BC95FB-7DB5-4C76-A574-C343B50E5C20}"/>
          </ac:spMkLst>
        </pc:spChg>
        <pc:spChg chg="mod">
          <ac:chgData name="Müller, Kurt (SI BP S TSS TR)" userId="e7e82c7e-80c6-42a5-ab71-24588885b7fe" providerId="ADAL" clId="{9FEA2841-5B76-4EDB-8984-1B2D4375FBAF}" dt="2021-07-21T09:33:57.758" v="1417" actId="20577"/>
          <ac:spMkLst>
            <pc:docMk/>
            <pc:sldMk cId="632425367" sldId="2584"/>
            <ac:spMk id="96" creationId="{F58902F7-74F5-40D2-95E0-489AE3763F2D}"/>
          </ac:spMkLst>
        </pc:spChg>
      </pc:sldChg>
      <pc:sldChg chg="addSp delSp modSp add del mod">
        <pc:chgData name="Müller, Kurt (SI BP S TSS TR)" userId="e7e82c7e-80c6-42a5-ab71-24588885b7fe" providerId="ADAL" clId="{9FEA2841-5B76-4EDB-8984-1B2D4375FBAF}" dt="2021-07-21T09:49:28.851" v="1555" actId="47"/>
        <pc:sldMkLst>
          <pc:docMk/>
          <pc:sldMk cId="1784539802" sldId="2585"/>
        </pc:sldMkLst>
        <pc:spChg chg="del">
          <ac:chgData name="Müller, Kurt (SI BP S TSS TR)" userId="e7e82c7e-80c6-42a5-ab71-24588885b7fe" providerId="ADAL" clId="{9FEA2841-5B76-4EDB-8984-1B2D4375FBAF}" dt="2021-07-21T09:42:18.982" v="1441" actId="478"/>
          <ac:spMkLst>
            <pc:docMk/>
            <pc:sldMk cId="1784539802" sldId="2585"/>
            <ac:spMk id="4" creationId="{27F415B5-B89D-43C5-82FE-486FDB760CC1}"/>
          </ac:spMkLst>
        </pc:spChg>
        <pc:spChg chg="add mod">
          <ac:chgData name="Müller, Kurt (SI BP S TSS TR)" userId="e7e82c7e-80c6-42a5-ab71-24588885b7fe" providerId="ADAL" clId="{9FEA2841-5B76-4EDB-8984-1B2D4375FBAF}" dt="2021-07-21T09:43:24.459" v="1462" actId="20577"/>
          <ac:spMkLst>
            <pc:docMk/>
            <pc:sldMk cId="1784539802" sldId="2585"/>
            <ac:spMk id="5" creationId="{54FEC67E-C2A6-4B7B-86E3-003D0424C846}"/>
          </ac:spMkLst>
        </pc:spChg>
        <pc:spChg chg="add del mod">
          <ac:chgData name="Müller, Kurt (SI BP S TSS TR)" userId="e7e82c7e-80c6-42a5-ab71-24588885b7fe" providerId="ADAL" clId="{9FEA2841-5B76-4EDB-8984-1B2D4375FBAF}" dt="2021-07-21T09:46:30.870" v="1538" actId="478"/>
          <ac:spMkLst>
            <pc:docMk/>
            <pc:sldMk cId="1784539802" sldId="2585"/>
            <ac:spMk id="6" creationId="{A881B137-ECB2-41DA-AAA8-DE4F9F98179E}"/>
          </ac:spMkLst>
        </pc:spChg>
        <pc:spChg chg="add mod">
          <ac:chgData name="Müller, Kurt (SI BP S TSS TR)" userId="e7e82c7e-80c6-42a5-ab71-24588885b7fe" providerId="ADAL" clId="{9FEA2841-5B76-4EDB-8984-1B2D4375FBAF}" dt="2021-07-21T09:45:10.324" v="1522" actId="20577"/>
          <ac:spMkLst>
            <pc:docMk/>
            <pc:sldMk cId="1784539802" sldId="2585"/>
            <ac:spMk id="136" creationId="{B985A3EC-9C86-4BBB-8B72-488E0E6567FA}"/>
          </ac:spMkLst>
        </pc:spChg>
        <pc:spChg chg="add mod">
          <ac:chgData name="Müller, Kurt (SI BP S TSS TR)" userId="e7e82c7e-80c6-42a5-ab71-24588885b7fe" providerId="ADAL" clId="{9FEA2841-5B76-4EDB-8984-1B2D4375FBAF}" dt="2021-07-21T09:43:32.638" v="1464" actId="20577"/>
          <ac:spMkLst>
            <pc:docMk/>
            <pc:sldMk cId="1784539802" sldId="2585"/>
            <ac:spMk id="137" creationId="{2594CDFE-C800-4A16-A3DC-A64191ED5F53}"/>
          </ac:spMkLst>
        </pc:spChg>
        <pc:spChg chg="add mod">
          <ac:chgData name="Müller, Kurt (SI BP S TSS TR)" userId="e7e82c7e-80c6-42a5-ab71-24588885b7fe" providerId="ADAL" clId="{9FEA2841-5B76-4EDB-8984-1B2D4375FBAF}" dt="2021-07-21T09:45:24.773" v="1524" actId="1076"/>
          <ac:spMkLst>
            <pc:docMk/>
            <pc:sldMk cId="1784539802" sldId="2585"/>
            <ac:spMk id="138" creationId="{977C21CB-CD01-4C59-985B-EEC9FF761E95}"/>
          </ac:spMkLst>
        </pc:spChg>
        <pc:spChg chg="add del mod">
          <ac:chgData name="Müller, Kurt (SI BP S TSS TR)" userId="e7e82c7e-80c6-42a5-ab71-24588885b7fe" providerId="ADAL" clId="{9FEA2841-5B76-4EDB-8984-1B2D4375FBAF}" dt="2021-07-21T09:45:15.351" v="1523" actId="478"/>
          <ac:spMkLst>
            <pc:docMk/>
            <pc:sldMk cId="1784539802" sldId="2585"/>
            <ac:spMk id="143" creationId="{7077736E-FCEE-4F25-B585-CDBD27F92D40}"/>
          </ac:spMkLst>
        </pc:spChg>
        <pc:spChg chg="add mod">
          <ac:chgData name="Müller, Kurt (SI BP S TSS TR)" userId="e7e82c7e-80c6-42a5-ab71-24588885b7fe" providerId="ADAL" clId="{9FEA2841-5B76-4EDB-8984-1B2D4375FBAF}" dt="2021-07-21T09:45:06.914" v="1518" actId="20577"/>
          <ac:spMkLst>
            <pc:docMk/>
            <pc:sldMk cId="1784539802" sldId="2585"/>
            <ac:spMk id="144" creationId="{7041A04E-9BBA-4BAC-9415-F4F04F76AF41}"/>
          </ac:spMkLst>
        </pc:spChg>
        <pc:spChg chg="add mod">
          <ac:chgData name="Müller, Kurt (SI BP S TSS TR)" userId="e7e82c7e-80c6-42a5-ab71-24588885b7fe" providerId="ADAL" clId="{9FEA2841-5B76-4EDB-8984-1B2D4375FBAF}" dt="2021-07-21T09:46:41.379" v="1542" actId="1076"/>
          <ac:spMkLst>
            <pc:docMk/>
            <pc:sldMk cId="1784539802" sldId="2585"/>
            <ac:spMk id="145" creationId="{BA18D289-4A74-4D5F-A4CC-4AD385457678}"/>
          </ac:spMkLst>
        </pc:spChg>
        <pc:spChg chg="add mod">
          <ac:chgData name="Müller, Kurt (SI BP S TSS TR)" userId="e7e82c7e-80c6-42a5-ab71-24588885b7fe" providerId="ADAL" clId="{9FEA2841-5B76-4EDB-8984-1B2D4375FBAF}" dt="2021-07-21T09:46:44.315" v="1543" actId="1076"/>
          <ac:spMkLst>
            <pc:docMk/>
            <pc:sldMk cId="1784539802" sldId="2585"/>
            <ac:spMk id="146" creationId="{1A610299-E6B3-459C-92EB-F0BA23FD73E7}"/>
          </ac:spMkLst>
        </pc:spChg>
        <pc:spChg chg="add mod">
          <ac:chgData name="Müller, Kurt (SI BP S TSS TR)" userId="e7e82c7e-80c6-42a5-ab71-24588885b7fe" providerId="ADAL" clId="{9FEA2841-5B76-4EDB-8984-1B2D4375FBAF}" dt="2021-07-21T09:46:57.071" v="1549" actId="6549"/>
          <ac:spMkLst>
            <pc:docMk/>
            <pc:sldMk cId="1784539802" sldId="2585"/>
            <ac:spMk id="147" creationId="{45523D43-D735-4461-8E13-19AEE0458110}"/>
          </ac:spMkLst>
        </pc:spChg>
        <pc:spChg chg="add mod">
          <ac:chgData name="Müller, Kurt (SI BP S TSS TR)" userId="e7e82c7e-80c6-42a5-ab71-24588885b7fe" providerId="ADAL" clId="{9FEA2841-5B76-4EDB-8984-1B2D4375FBAF}" dt="2021-07-21T09:47:00.501" v="1550" actId="571"/>
          <ac:spMkLst>
            <pc:docMk/>
            <pc:sldMk cId="1784539802" sldId="2585"/>
            <ac:spMk id="148" creationId="{BCBD0CD0-316A-4B9E-BE13-9747FB759FB5}"/>
          </ac:spMkLst>
        </pc:spChg>
        <pc:spChg chg="add mod">
          <ac:chgData name="Müller, Kurt (SI BP S TSS TR)" userId="e7e82c7e-80c6-42a5-ab71-24588885b7fe" providerId="ADAL" clId="{9FEA2841-5B76-4EDB-8984-1B2D4375FBAF}" dt="2021-07-21T09:48:33.676" v="1552" actId="1076"/>
          <ac:spMkLst>
            <pc:docMk/>
            <pc:sldMk cId="1784539802" sldId="2585"/>
            <ac:spMk id="149" creationId="{4E9F881F-4488-4529-88EA-4B35F17B6BCC}"/>
          </ac:spMkLst>
        </pc:spChg>
        <pc:spChg chg="add mod">
          <ac:chgData name="Müller, Kurt (SI BP S TSS TR)" userId="e7e82c7e-80c6-42a5-ab71-24588885b7fe" providerId="ADAL" clId="{9FEA2841-5B76-4EDB-8984-1B2D4375FBAF}" dt="2021-07-21T09:48:33.676" v="1552" actId="1076"/>
          <ac:spMkLst>
            <pc:docMk/>
            <pc:sldMk cId="1784539802" sldId="2585"/>
            <ac:spMk id="150" creationId="{DC72A21B-244D-48B0-A58D-170FE64EC5BB}"/>
          </ac:spMkLst>
        </pc:spChg>
        <pc:spChg chg="del">
          <ac:chgData name="Müller, Kurt (SI BP S TSS TR)" userId="e7e82c7e-80c6-42a5-ab71-24588885b7fe" providerId="ADAL" clId="{9FEA2841-5B76-4EDB-8984-1B2D4375FBAF}" dt="2021-07-21T09:42:16.539" v="1440" actId="478"/>
          <ac:spMkLst>
            <pc:docMk/>
            <pc:sldMk cId="1784539802" sldId="2585"/>
            <ac:spMk id="187" creationId="{D961F4C1-3016-4436-A129-96F862608A4F}"/>
          </ac:spMkLst>
        </pc:spChg>
        <pc:spChg chg="del">
          <ac:chgData name="Müller, Kurt (SI BP S TSS TR)" userId="e7e82c7e-80c6-42a5-ab71-24588885b7fe" providerId="ADAL" clId="{9FEA2841-5B76-4EDB-8984-1B2D4375FBAF}" dt="2021-07-21T09:42:16.539" v="1440" actId="478"/>
          <ac:spMkLst>
            <pc:docMk/>
            <pc:sldMk cId="1784539802" sldId="2585"/>
            <ac:spMk id="189" creationId="{01F2A7DE-B837-484D-A1D5-1AFB131B2A31}"/>
          </ac:spMkLst>
        </pc:spChg>
        <pc:spChg chg="del">
          <ac:chgData name="Müller, Kurt (SI BP S TSS TR)" userId="e7e82c7e-80c6-42a5-ab71-24588885b7fe" providerId="ADAL" clId="{9FEA2841-5B76-4EDB-8984-1B2D4375FBAF}" dt="2021-07-21T09:42:16.539" v="1440" actId="478"/>
          <ac:spMkLst>
            <pc:docMk/>
            <pc:sldMk cId="1784539802" sldId="2585"/>
            <ac:spMk id="190" creationId="{20A55C80-6B6A-4E7F-9E87-E47C4DB3B489}"/>
          </ac:spMkLst>
        </pc:spChg>
        <pc:spChg chg="del">
          <ac:chgData name="Müller, Kurt (SI BP S TSS TR)" userId="e7e82c7e-80c6-42a5-ab71-24588885b7fe" providerId="ADAL" clId="{9FEA2841-5B76-4EDB-8984-1B2D4375FBAF}" dt="2021-07-21T09:42:16.539" v="1440" actId="478"/>
          <ac:spMkLst>
            <pc:docMk/>
            <pc:sldMk cId="1784539802" sldId="2585"/>
            <ac:spMk id="191" creationId="{951DFB22-EDD9-4426-A801-B80A585E1F0B}"/>
          </ac:spMkLst>
        </pc:spChg>
        <pc:spChg chg="del">
          <ac:chgData name="Müller, Kurt (SI BP S TSS TR)" userId="e7e82c7e-80c6-42a5-ab71-24588885b7fe" providerId="ADAL" clId="{9FEA2841-5B76-4EDB-8984-1B2D4375FBAF}" dt="2021-07-21T09:42:16.539" v="1440" actId="478"/>
          <ac:spMkLst>
            <pc:docMk/>
            <pc:sldMk cId="1784539802" sldId="2585"/>
            <ac:spMk id="199" creationId="{29878D5C-7DCE-4CF4-B79E-7B4EACDB1C5A}"/>
          </ac:spMkLst>
        </pc:spChg>
        <pc:spChg chg="del">
          <ac:chgData name="Müller, Kurt (SI BP S TSS TR)" userId="e7e82c7e-80c6-42a5-ab71-24588885b7fe" providerId="ADAL" clId="{9FEA2841-5B76-4EDB-8984-1B2D4375FBAF}" dt="2021-07-21T09:42:16.539" v="1440" actId="478"/>
          <ac:spMkLst>
            <pc:docMk/>
            <pc:sldMk cId="1784539802" sldId="2585"/>
            <ac:spMk id="200" creationId="{8DAD6EAC-1C88-40FE-80C7-1B778E1F3E93}"/>
          </ac:spMkLst>
        </pc:spChg>
        <pc:spChg chg="del">
          <ac:chgData name="Müller, Kurt (SI BP S TSS TR)" userId="e7e82c7e-80c6-42a5-ab71-24588885b7fe" providerId="ADAL" clId="{9FEA2841-5B76-4EDB-8984-1B2D4375FBAF}" dt="2021-07-21T09:42:16.539" v="1440" actId="478"/>
          <ac:spMkLst>
            <pc:docMk/>
            <pc:sldMk cId="1784539802" sldId="2585"/>
            <ac:spMk id="201" creationId="{F22FFF72-F635-48AF-96F1-6E219E8E657B}"/>
          </ac:spMkLst>
        </pc:spChg>
        <pc:spChg chg="del">
          <ac:chgData name="Müller, Kurt (SI BP S TSS TR)" userId="e7e82c7e-80c6-42a5-ab71-24588885b7fe" providerId="ADAL" clId="{9FEA2841-5B76-4EDB-8984-1B2D4375FBAF}" dt="2021-07-21T09:42:16.539" v="1440" actId="478"/>
          <ac:spMkLst>
            <pc:docMk/>
            <pc:sldMk cId="1784539802" sldId="2585"/>
            <ac:spMk id="202" creationId="{5BB460E6-FDE4-475B-9942-8ACA0571A2C3}"/>
          </ac:spMkLst>
        </pc:spChg>
        <pc:spChg chg="del">
          <ac:chgData name="Müller, Kurt (SI BP S TSS TR)" userId="e7e82c7e-80c6-42a5-ab71-24588885b7fe" providerId="ADAL" clId="{9FEA2841-5B76-4EDB-8984-1B2D4375FBAF}" dt="2021-07-21T09:42:16.539" v="1440" actId="478"/>
          <ac:spMkLst>
            <pc:docMk/>
            <pc:sldMk cId="1784539802" sldId="2585"/>
            <ac:spMk id="203" creationId="{0C585F87-EE55-42B9-B97E-615745AC0EAD}"/>
          </ac:spMkLst>
        </pc:spChg>
        <pc:spChg chg="del">
          <ac:chgData name="Müller, Kurt (SI BP S TSS TR)" userId="e7e82c7e-80c6-42a5-ab71-24588885b7fe" providerId="ADAL" clId="{9FEA2841-5B76-4EDB-8984-1B2D4375FBAF}" dt="2021-07-21T09:42:16.539" v="1440" actId="478"/>
          <ac:spMkLst>
            <pc:docMk/>
            <pc:sldMk cId="1784539802" sldId="2585"/>
            <ac:spMk id="204" creationId="{AE406BA8-FC96-4507-81F6-1946B6780B72}"/>
          </ac:spMkLst>
        </pc:spChg>
        <pc:spChg chg="del">
          <ac:chgData name="Müller, Kurt (SI BP S TSS TR)" userId="e7e82c7e-80c6-42a5-ab71-24588885b7fe" providerId="ADAL" clId="{9FEA2841-5B76-4EDB-8984-1B2D4375FBAF}" dt="2021-07-21T09:42:16.539" v="1440" actId="478"/>
          <ac:spMkLst>
            <pc:docMk/>
            <pc:sldMk cId="1784539802" sldId="2585"/>
            <ac:spMk id="205" creationId="{4B6D80B8-416F-4C7D-98D3-68035BE794B1}"/>
          </ac:spMkLst>
        </pc:spChg>
        <pc:spChg chg="del">
          <ac:chgData name="Müller, Kurt (SI BP S TSS TR)" userId="e7e82c7e-80c6-42a5-ab71-24588885b7fe" providerId="ADAL" clId="{9FEA2841-5B76-4EDB-8984-1B2D4375FBAF}" dt="2021-07-21T09:42:16.539" v="1440" actId="478"/>
          <ac:spMkLst>
            <pc:docMk/>
            <pc:sldMk cId="1784539802" sldId="2585"/>
            <ac:spMk id="206" creationId="{19325E5B-6F71-4AC0-9FE2-E8598FC4D1CD}"/>
          </ac:spMkLst>
        </pc:spChg>
        <pc:spChg chg="del">
          <ac:chgData name="Müller, Kurt (SI BP S TSS TR)" userId="e7e82c7e-80c6-42a5-ab71-24588885b7fe" providerId="ADAL" clId="{9FEA2841-5B76-4EDB-8984-1B2D4375FBAF}" dt="2021-07-21T09:42:16.539" v="1440" actId="478"/>
          <ac:spMkLst>
            <pc:docMk/>
            <pc:sldMk cId="1784539802" sldId="2585"/>
            <ac:spMk id="207" creationId="{AD33A104-A813-4DCA-BC59-0D8FE261C9EA}"/>
          </ac:spMkLst>
        </pc:spChg>
        <pc:spChg chg="del">
          <ac:chgData name="Müller, Kurt (SI BP S TSS TR)" userId="e7e82c7e-80c6-42a5-ab71-24588885b7fe" providerId="ADAL" clId="{9FEA2841-5B76-4EDB-8984-1B2D4375FBAF}" dt="2021-07-21T09:42:16.539" v="1440" actId="478"/>
          <ac:spMkLst>
            <pc:docMk/>
            <pc:sldMk cId="1784539802" sldId="2585"/>
            <ac:spMk id="208" creationId="{26B4235E-43D0-44C8-B7CB-460DF1B7F856}"/>
          </ac:spMkLst>
        </pc:spChg>
        <pc:spChg chg="del">
          <ac:chgData name="Müller, Kurt (SI BP S TSS TR)" userId="e7e82c7e-80c6-42a5-ab71-24588885b7fe" providerId="ADAL" clId="{9FEA2841-5B76-4EDB-8984-1B2D4375FBAF}" dt="2021-07-21T09:42:16.539" v="1440" actId="478"/>
          <ac:spMkLst>
            <pc:docMk/>
            <pc:sldMk cId="1784539802" sldId="2585"/>
            <ac:spMk id="209" creationId="{EB444458-AB58-4C10-9AD0-0792011C5D4B}"/>
          </ac:spMkLst>
        </pc:spChg>
        <pc:spChg chg="del">
          <ac:chgData name="Müller, Kurt (SI BP S TSS TR)" userId="e7e82c7e-80c6-42a5-ab71-24588885b7fe" providerId="ADAL" clId="{9FEA2841-5B76-4EDB-8984-1B2D4375FBAF}" dt="2021-07-21T09:42:16.539" v="1440" actId="478"/>
          <ac:spMkLst>
            <pc:docMk/>
            <pc:sldMk cId="1784539802" sldId="2585"/>
            <ac:spMk id="210" creationId="{00CD73E1-4B2D-420D-A181-660400CA647D}"/>
          </ac:spMkLst>
        </pc:spChg>
        <pc:spChg chg="del">
          <ac:chgData name="Müller, Kurt (SI BP S TSS TR)" userId="e7e82c7e-80c6-42a5-ab71-24588885b7fe" providerId="ADAL" clId="{9FEA2841-5B76-4EDB-8984-1B2D4375FBAF}" dt="2021-07-21T09:42:16.539" v="1440" actId="478"/>
          <ac:spMkLst>
            <pc:docMk/>
            <pc:sldMk cId="1784539802" sldId="2585"/>
            <ac:spMk id="211" creationId="{0248C509-98AF-4B31-9032-FE798081412D}"/>
          </ac:spMkLst>
        </pc:spChg>
        <pc:spChg chg="del">
          <ac:chgData name="Müller, Kurt (SI BP S TSS TR)" userId="e7e82c7e-80c6-42a5-ab71-24588885b7fe" providerId="ADAL" clId="{9FEA2841-5B76-4EDB-8984-1B2D4375FBAF}" dt="2021-07-21T09:42:16.539" v="1440" actId="478"/>
          <ac:spMkLst>
            <pc:docMk/>
            <pc:sldMk cId="1784539802" sldId="2585"/>
            <ac:spMk id="212" creationId="{2612FBC6-C19E-4F04-9F56-D3C7AF9DCDFD}"/>
          </ac:spMkLst>
        </pc:spChg>
        <pc:spChg chg="mod">
          <ac:chgData name="Müller, Kurt (SI BP S TSS TR)" userId="e7e82c7e-80c6-42a5-ab71-24588885b7fe" providerId="ADAL" clId="{9FEA2841-5B76-4EDB-8984-1B2D4375FBAF}" dt="2021-07-21T09:42:06.096" v="1437" actId="1076"/>
          <ac:spMkLst>
            <pc:docMk/>
            <pc:sldMk cId="1784539802" sldId="2585"/>
            <ac:spMk id="235" creationId="{BAC56717-5DF3-4D65-8224-114AD1CAD46E}"/>
          </ac:spMkLst>
        </pc:spChg>
        <pc:spChg chg="mod">
          <ac:chgData name="Müller, Kurt (SI BP S TSS TR)" userId="e7e82c7e-80c6-42a5-ab71-24588885b7fe" providerId="ADAL" clId="{9FEA2841-5B76-4EDB-8984-1B2D4375FBAF}" dt="2021-07-21T09:42:06.096" v="1437" actId="1076"/>
          <ac:spMkLst>
            <pc:docMk/>
            <pc:sldMk cId="1784539802" sldId="2585"/>
            <ac:spMk id="236" creationId="{F55D036D-1F67-4395-83A9-938493F1A76C}"/>
          </ac:spMkLst>
        </pc:spChg>
        <pc:spChg chg="mod">
          <ac:chgData name="Müller, Kurt (SI BP S TSS TR)" userId="e7e82c7e-80c6-42a5-ab71-24588885b7fe" providerId="ADAL" clId="{9FEA2841-5B76-4EDB-8984-1B2D4375FBAF}" dt="2021-07-21T09:42:06.096" v="1437" actId="1076"/>
          <ac:spMkLst>
            <pc:docMk/>
            <pc:sldMk cId="1784539802" sldId="2585"/>
            <ac:spMk id="237" creationId="{E65F615A-B158-4253-A751-C37C0BDE29E9}"/>
          </ac:spMkLst>
        </pc:spChg>
        <pc:spChg chg="mod">
          <ac:chgData name="Müller, Kurt (SI BP S TSS TR)" userId="e7e82c7e-80c6-42a5-ab71-24588885b7fe" providerId="ADAL" clId="{9FEA2841-5B76-4EDB-8984-1B2D4375FBAF}" dt="2021-07-21T09:42:06.096" v="1437" actId="1076"/>
          <ac:spMkLst>
            <pc:docMk/>
            <pc:sldMk cId="1784539802" sldId="2585"/>
            <ac:spMk id="238" creationId="{696DE758-04AE-4281-9D69-D536C56392C3}"/>
          </ac:spMkLst>
        </pc:spChg>
        <pc:spChg chg="mod">
          <ac:chgData name="Müller, Kurt (SI BP S TSS TR)" userId="e7e82c7e-80c6-42a5-ab71-24588885b7fe" providerId="ADAL" clId="{9FEA2841-5B76-4EDB-8984-1B2D4375FBAF}" dt="2021-07-21T09:42:06.096" v="1437" actId="1076"/>
          <ac:spMkLst>
            <pc:docMk/>
            <pc:sldMk cId="1784539802" sldId="2585"/>
            <ac:spMk id="239" creationId="{7A90E35F-9826-47CF-82A8-3207590D8EEC}"/>
          </ac:spMkLst>
        </pc:spChg>
        <pc:spChg chg="mod">
          <ac:chgData name="Müller, Kurt (SI BP S TSS TR)" userId="e7e82c7e-80c6-42a5-ab71-24588885b7fe" providerId="ADAL" clId="{9FEA2841-5B76-4EDB-8984-1B2D4375FBAF}" dt="2021-07-21T09:42:06.096" v="1437" actId="1076"/>
          <ac:spMkLst>
            <pc:docMk/>
            <pc:sldMk cId="1784539802" sldId="2585"/>
            <ac:spMk id="240" creationId="{A5292E85-E5B2-4E5A-82F0-FA99AE5120FD}"/>
          </ac:spMkLst>
        </pc:spChg>
        <pc:spChg chg="mod">
          <ac:chgData name="Müller, Kurt (SI BP S TSS TR)" userId="e7e82c7e-80c6-42a5-ab71-24588885b7fe" providerId="ADAL" clId="{9FEA2841-5B76-4EDB-8984-1B2D4375FBAF}" dt="2021-07-21T09:42:06.096" v="1437" actId="1076"/>
          <ac:spMkLst>
            <pc:docMk/>
            <pc:sldMk cId="1784539802" sldId="2585"/>
            <ac:spMk id="241" creationId="{540FC1F7-F270-4233-A6CF-B40DEB162087}"/>
          </ac:spMkLst>
        </pc:spChg>
        <pc:spChg chg="mod">
          <ac:chgData name="Müller, Kurt (SI BP S TSS TR)" userId="e7e82c7e-80c6-42a5-ab71-24588885b7fe" providerId="ADAL" clId="{9FEA2841-5B76-4EDB-8984-1B2D4375FBAF}" dt="2021-07-21T09:42:06.096" v="1437" actId="1076"/>
          <ac:spMkLst>
            <pc:docMk/>
            <pc:sldMk cId="1784539802" sldId="2585"/>
            <ac:spMk id="242" creationId="{A7A32240-79E9-423F-B635-E3EFDAAC8998}"/>
          </ac:spMkLst>
        </pc:spChg>
        <pc:spChg chg="mod">
          <ac:chgData name="Müller, Kurt (SI BP S TSS TR)" userId="e7e82c7e-80c6-42a5-ab71-24588885b7fe" providerId="ADAL" clId="{9FEA2841-5B76-4EDB-8984-1B2D4375FBAF}" dt="2021-07-21T09:42:06.096" v="1437" actId="1076"/>
          <ac:spMkLst>
            <pc:docMk/>
            <pc:sldMk cId="1784539802" sldId="2585"/>
            <ac:spMk id="243" creationId="{449E2054-EE5C-41D5-9F6E-872A693FB197}"/>
          </ac:spMkLst>
        </pc:spChg>
        <pc:spChg chg="mod">
          <ac:chgData name="Müller, Kurt (SI BP S TSS TR)" userId="e7e82c7e-80c6-42a5-ab71-24588885b7fe" providerId="ADAL" clId="{9FEA2841-5B76-4EDB-8984-1B2D4375FBAF}" dt="2021-07-21T09:42:06.096" v="1437" actId="1076"/>
          <ac:spMkLst>
            <pc:docMk/>
            <pc:sldMk cId="1784539802" sldId="2585"/>
            <ac:spMk id="244" creationId="{E5CD9A35-F8FB-44E3-9D25-D28958FD6FDE}"/>
          </ac:spMkLst>
        </pc:spChg>
        <pc:spChg chg="mod">
          <ac:chgData name="Müller, Kurt (SI BP S TSS TR)" userId="e7e82c7e-80c6-42a5-ab71-24588885b7fe" providerId="ADAL" clId="{9FEA2841-5B76-4EDB-8984-1B2D4375FBAF}" dt="2021-07-21T09:42:06.096" v="1437" actId="1076"/>
          <ac:spMkLst>
            <pc:docMk/>
            <pc:sldMk cId="1784539802" sldId="2585"/>
            <ac:spMk id="245" creationId="{360B6D81-69C3-4D33-B0B8-D3C4503D912F}"/>
          </ac:spMkLst>
        </pc:spChg>
        <pc:spChg chg="mod">
          <ac:chgData name="Müller, Kurt (SI BP S TSS TR)" userId="e7e82c7e-80c6-42a5-ab71-24588885b7fe" providerId="ADAL" clId="{9FEA2841-5B76-4EDB-8984-1B2D4375FBAF}" dt="2021-07-21T09:42:06.096" v="1437" actId="1076"/>
          <ac:spMkLst>
            <pc:docMk/>
            <pc:sldMk cId="1784539802" sldId="2585"/>
            <ac:spMk id="246" creationId="{89C58CAC-BCC0-4E98-A54C-2CD8E6A49BBE}"/>
          </ac:spMkLst>
        </pc:spChg>
        <pc:spChg chg="mod">
          <ac:chgData name="Müller, Kurt (SI BP S TSS TR)" userId="e7e82c7e-80c6-42a5-ab71-24588885b7fe" providerId="ADAL" clId="{9FEA2841-5B76-4EDB-8984-1B2D4375FBAF}" dt="2021-07-21T09:42:06.096" v="1437" actId="1076"/>
          <ac:spMkLst>
            <pc:docMk/>
            <pc:sldMk cId="1784539802" sldId="2585"/>
            <ac:spMk id="247" creationId="{B10EBA11-8CEE-442A-B99C-E05D55C91F2E}"/>
          </ac:spMkLst>
        </pc:spChg>
        <pc:spChg chg="mod">
          <ac:chgData name="Müller, Kurt (SI BP S TSS TR)" userId="e7e82c7e-80c6-42a5-ab71-24588885b7fe" providerId="ADAL" clId="{9FEA2841-5B76-4EDB-8984-1B2D4375FBAF}" dt="2021-07-21T09:42:06.096" v="1437" actId="1076"/>
          <ac:spMkLst>
            <pc:docMk/>
            <pc:sldMk cId="1784539802" sldId="2585"/>
            <ac:spMk id="248" creationId="{2432641B-8829-401C-BA3E-81AFEB045A87}"/>
          </ac:spMkLst>
        </pc:spChg>
        <pc:spChg chg="mod">
          <ac:chgData name="Müller, Kurt (SI BP S TSS TR)" userId="e7e82c7e-80c6-42a5-ab71-24588885b7fe" providerId="ADAL" clId="{9FEA2841-5B76-4EDB-8984-1B2D4375FBAF}" dt="2021-07-21T09:42:06.096" v="1437" actId="1076"/>
          <ac:spMkLst>
            <pc:docMk/>
            <pc:sldMk cId="1784539802" sldId="2585"/>
            <ac:spMk id="249" creationId="{4CC574EE-7431-43E3-BCF0-69727344C91E}"/>
          </ac:spMkLst>
        </pc:spChg>
        <pc:spChg chg="mod">
          <ac:chgData name="Müller, Kurt (SI BP S TSS TR)" userId="e7e82c7e-80c6-42a5-ab71-24588885b7fe" providerId="ADAL" clId="{9FEA2841-5B76-4EDB-8984-1B2D4375FBAF}" dt="2021-07-21T09:42:06.096" v="1437" actId="1076"/>
          <ac:spMkLst>
            <pc:docMk/>
            <pc:sldMk cId="1784539802" sldId="2585"/>
            <ac:spMk id="250" creationId="{476E745C-0E9A-449A-ADF0-9FB5AF43EA9E}"/>
          </ac:spMkLst>
        </pc:spChg>
        <pc:spChg chg="mod">
          <ac:chgData name="Müller, Kurt (SI BP S TSS TR)" userId="e7e82c7e-80c6-42a5-ab71-24588885b7fe" providerId="ADAL" clId="{9FEA2841-5B76-4EDB-8984-1B2D4375FBAF}" dt="2021-07-21T09:42:06.096" v="1437" actId="1076"/>
          <ac:spMkLst>
            <pc:docMk/>
            <pc:sldMk cId="1784539802" sldId="2585"/>
            <ac:spMk id="251" creationId="{DFF26D0D-20E3-48D3-AB34-D1334C09C406}"/>
          </ac:spMkLst>
        </pc:spChg>
        <pc:spChg chg="mod">
          <ac:chgData name="Müller, Kurt (SI BP S TSS TR)" userId="e7e82c7e-80c6-42a5-ab71-24588885b7fe" providerId="ADAL" clId="{9FEA2841-5B76-4EDB-8984-1B2D4375FBAF}" dt="2021-07-21T09:42:06.096" v="1437" actId="1076"/>
          <ac:spMkLst>
            <pc:docMk/>
            <pc:sldMk cId="1784539802" sldId="2585"/>
            <ac:spMk id="252" creationId="{F75D90CC-5B68-4EBA-8FF0-55C0F766185C}"/>
          </ac:spMkLst>
        </pc:spChg>
        <pc:spChg chg="mod">
          <ac:chgData name="Müller, Kurt (SI BP S TSS TR)" userId="e7e82c7e-80c6-42a5-ab71-24588885b7fe" providerId="ADAL" clId="{9FEA2841-5B76-4EDB-8984-1B2D4375FBAF}" dt="2021-07-21T09:42:06.096" v="1437" actId="1076"/>
          <ac:spMkLst>
            <pc:docMk/>
            <pc:sldMk cId="1784539802" sldId="2585"/>
            <ac:spMk id="253" creationId="{80890041-13DD-4852-85B5-2198B00A9531}"/>
          </ac:spMkLst>
        </pc:spChg>
        <pc:spChg chg="mod">
          <ac:chgData name="Müller, Kurt (SI BP S TSS TR)" userId="e7e82c7e-80c6-42a5-ab71-24588885b7fe" providerId="ADAL" clId="{9FEA2841-5B76-4EDB-8984-1B2D4375FBAF}" dt="2021-07-21T09:42:06.096" v="1437" actId="1076"/>
          <ac:spMkLst>
            <pc:docMk/>
            <pc:sldMk cId="1784539802" sldId="2585"/>
            <ac:spMk id="254" creationId="{13E4EBC6-6271-49A9-81A4-583CB074EB06}"/>
          </ac:spMkLst>
        </pc:spChg>
        <pc:spChg chg="mod">
          <ac:chgData name="Müller, Kurt (SI BP S TSS TR)" userId="e7e82c7e-80c6-42a5-ab71-24588885b7fe" providerId="ADAL" clId="{9FEA2841-5B76-4EDB-8984-1B2D4375FBAF}" dt="2021-07-21T09:42:06.096" v="1437" actId="1076"/>
          <ac:spMkLst>
            <pc:docMk/>
            <pc:sldMk cId="1784539802" sldId="2585"/>
            <ac:spMk id="255" creationId="{8DCAD5C4-6912-45A3-8D1C-4E75AC932411}"/>
          </ac:spMkLst>
        </pc:spChg>
        <pc:spChg chg="mod">
          <ac:chgData name="Müller, Kurt (SI BP S TSS TR)" userId="e7e82c7e-80c6-42a5-ab71-24588885b7fe" providerId="ADAL" clId="{9FEA2841-5B76-4EDB-8984-1B2D4375FBAF}" dt="2021-07-21T09:42:06.096" v="1437" actId="1076"/>
          <ac:spMkLst>
            <pc:docMk/>
            <pc:sldMk cId="1784539802" sldId="2585"/>
            <ac:spMk id="256" creationId="{1EC32754-E8C7-4BE7-8FC0-26133149761B}"/>
          </ac:spMkLst>
        </pc:spChg>
        <pc:spChg chg="mod">
          <ac:chgData name="Müller, Kurt (SI BP S TSS TR)" userId="e7e82c7e-80c6-42a5-ab71-24588885b7fe" providerId="ADAL" clId="{9FEA2841-5B76-4EDB-8984-1B2D4375FBAF}" dt="2021-07-21T09:42:06.096" v="1437" actId="1076"/>
          <ac:spMkLst>
            <pc:docMk/>
            <pc:sldMk cId="1784539802" sldId="2585"/>
            <ac:spMk id="257" creationId="{ED56DB00-8429-411C-A7C5-30A35F4C9181}"/>
          </ac:spMkLst>
        </pc:spChg>
        <pc:spChg chg="mod">
          <ac:chgData name="Müller, Kurt (SI BP S TSS TR)" userId="e7e82c7e-80c6-42a5-ab71-24588885b7fe" providerId="ADAL" clId="{9FEA2841-5B76-4EDB-8984-1B2D4375FBAF}" dt="2021-07-21T09:42:06.096" v="1437" actId="1076"/>
          <ac:spMkLst>
            <pc:docMk/>
            <pc:sldMk cId="1784539802" sldId="2585"/>
            <ac:spMk id="258" creationId="{D6650105-7F35-4E66-AB10-D9DFE88DBC96}"/>
          </ac:spMkLst>
        </pc:spChg>
        <pc:spChg chg="mod">
          <ac:chgData name="Müller, Kurt (SI BP S TSS TR)" userId="e7e82c7e-80c6-42a5-ab71-24588885b7fe" providerId="ADAL" clId="{9FEA2841-5B76-4EDB-8984-1B2D4375FBAF}" dt="2021-07-21T09:42:06.096" v="1437" actId="1076"/>
          <ac:spMkLst>
            <pc:docMk/>
            <pc:sldMk cId="1784539802" sldId="2585"/>
            <ac:spMk id="259" creationId="{C84E3E23-9161-453D-904B-B8893AE67457}"/>
          </ac:spMkLst>
        </pc:spChg>
        <pc:spChg chg="mod">
          <ac:chgData name="Müller, Kurt (SI BP S TSS TR)" userId="e7e82c7e-80c6-42a5-ab71-24588885b7fe" providerId="ADAL" clId="{9FEA2841-5B76-4EDB-8984-1B2D4375FBAF}" dt="2021-07-21T09:42:06.096" v="1437" actId="1076"/>
          <ac:spMkLst>
            <pc:docMk/>
            <pc:sldMk cId="1784539802" sldId="2585"/>
            <ac:spMk id="260" creationId="{0BA1DBAC-E646-4C4D-99FF-BEDF3EA12C28}"/>
          </ac:spMkLst>
        </pc:spChg>
        <pc:spChg chg="mod">
          <ac:chgData name="Müller, Kurt (SI BP S TSS TR)" userId="e7e82c7e-80c6-42a5-ab71-24588885b7fe" providerId="ADAL" clId="{9FEA2841-5B76-4EDB-8984-1B2D4375FBAF}" dt="2021-07-21T09:42:06.096" v="1437" actId="1076"/>
          <ac:spMkLst>
            <pc:docMk/>
            <pc:sldMk cId="1784539802" sldId="2585"/>
            <ac:spMk id="261" creationId="{A979BB4D-D739-4956-B978-E8E4E471BCD0}"/>
          </ac:spMkLst>
        </pc:spChg>
        <pc:grpChg chg="del">
          <ac:chgData name="Müller, Kurt (SI BP S TSS TR)" userId="e7e82c7e-80c6-42a5-ab71-24588885b7fe" providerId="ADAL" clId="{9FEA2841-5B76-4EDB-8984-1B2D4375FBAF}" dt="2021-07-21T09:42:16.539" v="1440" actId="478"/>
          <ac:grpSpMkLst>
            <pc:docMk/>
            <pc:sldMk cId="1784539802" sldId="2585"/>
            <ac:grpSpMk id="213" creationId="{BB08FFEE-DBAA-4EF8-B4E2-28260625979D}"/>
          </ac:grpSpMkLst>
        </pc:grpChg>
        <pc:grpChg chg="del mod">
          <ac:chgData name="Müller, Kurt (SI BP S TSS TR)" userId="e7e82c7e-80c6-42a5-ab71-24588885b7fe" providerId="ADAL" clId="{9FEA2841-5B76-4EDB-8984-1B2D4375FBAF}" dt="2021-07-21T09:42:16.539" v="1440" actId="478"/>
          <ac:grpSpMkLst>
            <pc:docMk/>
            <pc:sldMk cId="1784539802" sldId="2585"/>
            <ac:grpSpMk id="226" creationId="{ACBA051D-38B6-4E31-8A51-730E80DE4C4E}"/>
          </ac:grpSpMkLst>
        </pc:grpChg>
        <pc:graphicFrameChg chg="del">
          <ac:chgData name="Müller, Kurt (SI BP S TSS TR)" userId="e7e82c7e-80c6-42a5-ab71-24588885b7fe" providerId="ADAL" clId="{9FEA2841-5B76-4EDB-8984-1B2D4375FBAF}" dt="2021-07-21T09:42:05.454" v="1436" actId="478"/>
          <ac:graphicFrameMkLst>
            <pc:docMk/>
            <pc:sldMk cId="1784539802" sldId="2585"/>
            <ac:graphicFrameMk id="1048" creationId="{2B8F322D-9305-4662-A67E-916DED4AEB03}"/>
          </ac:graphicFrameMkLst>
        </pc:graphicFrameChg>
        <pc:picChg chg="mod">
          <ac:chgData name="Müller, Kurt (SI BP S TSS TR)" userId="e7e82c7e-80c6-42a5-ab71-24588885b7fe" providerId="ADAL" clId="{9FEA2841-5B76-4EDB-8984-1B2D4375FBAF}" dt="2021-07-21T09:46:38.603" v="1541" actId="1076"/>
          <ac:picMkLst>
            <pc:docMk/>
            <pc:sldMk cId="1784539802" sldId="2585"/>
            <ac:picMk id="186" creationId="{AA1F9A0C-1963-4335-9CBE-7DF1A48B16F0}"/>
          </ac:picMkLst>
        </pc:picChg>
        <pc:cxnChg chg="mod">
          <ac:chgData name="Müller, Kurt (SI BP S TSS TR)" userId="e7e82c7e-80c6-42a5-ab71-24588885b7fe" providerId="ADAL" clId="{9FEA2841-5B76-4EDB-8984-1B2D4375FBAF}" dt="2021-07-21T09:42:06.096" v="1437" actId="1076"/>
          <ac:cxnSpMkLst>
            <pc:docMk/>
            <pc:sldMk cId="1784539802" sldId="2585"/>
            <ac:cxnSpMk id="262" creationId="{788D03E7-5029-47D5-A707-D1F2D46E1261}"/>
          </ac:cxnSpMkLst>
        </pc:cxnChg>
        <pc:cxnChg chg="mod">
          <ac:chgData name="Müller, Kurt (SI BP S TSS TR)" userId="e7e82c7e-80c6-42a5-ab71-24588885b7fe" providerId="ADAL" clId="{9FEA2841-5B76-4EDB-8984-1B2D4375FBAF}" dt="2021-07-21T09:42:06.096" v="1437" actId="1076"/>
          <ac:cxnSpMkLst>
            <pc:docMk/>
            <pc:sldMk cId="1784539802" sldId="2585"/>
            <ac:cxnSpMk id="263" creationId="{C937AA1E-5ADD-4AB1-8802-78ACE98D0503}"/>
          </ac:cxnSpMkLst>
        </pc:cxnChg>
      </pc:sldChg>
      <pc:sldChg chg="addSp delSp modSp add mod">
        <pc:chgData name="Müller, Kurt (SI BP S TSS TR)" userId="e7e82c7e-80c6-42a5-ab71-24588885b7fe" providerId="ADAL" clId="{9FEA2841-5B76-4EDB-8984-1B2D4375FBAF}" dt="2021-07-21T09:55:25.035" v="1621" actId="1076"/>
        <pc:sldMkLst>
          <pc:docMk/>
          <pc:sldMk cId="342781692" sldId="2586"/>
        </pc:sldMkLst>
        <pc:spChg chg="add mod">
          <ac:chgData name="Müller, Kurt (SI BP S TSS TR)" userId="e7e82c7e-80c6-42a5-ab71-24588885b7fe" providerId="ADAL" clId="{9FEA2841-5B76-4EDB-8984-1B2D4375FBAF}" dt="2021-07-21T09:53:52.715" v="1605" actId="571"/>
          <ac:spMkLst>
            <pc:docMk/>
            <pc:sldMk cId="342781692" sldId="2586"/>
            <ac:spMk id="80" creationId="{9BFCC239-D3D0-4F0C-8B05-6DBA47D39C04}"/>
          </ac:spMkLst>
        </pc:spChg>
        <pc:spChg chg="add mod">
          <ac:chgData name="Müller, Kurt (SI BP S TSS TR)" userId="e7e82c7e-80c6-42a5-ab71-24588885b7fe" providerId="ADAL" clId="{9FEA2841-5B76-4EDB-8984-1B2D4375FBAF}" dt="2021-07-21T09:53:52.715" v="1605" actId="571"/>
          <ac:spMkLst>
            <pc:docMk/>
            <pc:sldMk cId="342781692" sldId="2586"/>
            <ac:spMk id="81" creationId="{2164813D-BF56-44F1-B65F-AE93D359A570}"/>
          </ac:spMkLst>
        </pc:spChg>
        <pc:spChg chg="add mod">
          <ac:chgData name="Müller, Kurt (SI BP S TSS TR)" userId="e7e82c7e-80c6-42a5-ab71-24588885b7fe" providerId="ADAL" clId="{9FEA2841-5B76-4EDB-8984-1B2D4375FBAF}" dt="2021-07-21T09:54:39.180" v="1613" actId="571"/>
          <ac:spMkLst>
            <pc:docMk/>
            <pc:sldMk cId="342781692" sldId="2586"/>
            <ac:spMk id="87" creationId="{E29FF5ED-9B5E-425D-8ABC-EE65841B8EB3}"/>
          </ac:spMkLst>
        </pc:spChg>
        <pc:spChg chg="add mod">
          <ac:chgData name="Müller, Kurt (SI BP S TSS TR)" userId="e7e82c7e-80c6-42a5-ab71-24588885b7fe" providerId="ADAL" clId="{9FEA2841-5B76-4EDB-8984-1B2D4375FBAF}" dt="2021-07-21T09:54:39.180" v="1613" actId="571"/>
          <ac:spMkLst>
            <pc:docMk/>
            <pc:sldMk cId="342781692" sldId="2586"/>
            <ac:spMk id="88" creationId="{51F70398-00BC-4885-AAA5-F1449AFF31F4}"/>
          </ac:spMkLst>
        </pc:spChg>
        <pc:spChg chg="mod">
          <ac:chgData name="Müller, Kurt (SI BP S TSS TR)" userId="e7e82c7e-80c6-42a5-ab71-24588885b7fe" providerId="ADAL" clId="{9FEA2841-5B76-4EDB-8984-1B2D4375FBAF}" dt="2021-07-21T09:54:30.267" v="1612" actId="1076"/>
          <ac:spMkLst>
            <pc:docMk/>
            <pc:sldMk cId="342781692" sldId="2586"/>
            <ac:spMk id="144" creationId="{7041A04E-9BBA-4BAC-9415-F4F04F76AF41}"/>
          </ac:spMkLst>
        </pc:spChg>
        <pc:spChg chg="mod">
          <ac:chgData name="Müller, Kurt (SI BP S TSS TR)" userId="e7e82c7e-80c6-42a5-ab71-24588885b7fe" providerId="ADAL" clId="{9FEA2841-5B76-4EDB-8984-1B2D4375FBAF}" dt="2021-07-21T09:53:04.575" v="1603" actId="6549"/>
          <ac:spMkLst>
            <pc:docMk/>
            <pc:sldMk cId="342781692" sldId="2586"/>
            <ac:spMk id="147" creationId="{45523D43-D735-4461-8E13-19AEE0458110}"/>
          </ac:spMkLst>
        </pc:spChg>
        <pc:spChg chg="del">
          <ac:chgData name="Müller, Kurt (SI BP S TSS TR)" userId="e7e82c7e-80c6-42a5-ab71-24588885b7fe" providerId="ADAL" clId="{9FEA2841-5B76-4EDB-8984-1B2D4375FBAF}" dt="2021-07-21T09:52:32.838" v="1556" actId="478"/>
          <ac:spMkLst>
            <pc:docMk/>
            <pc:sldMk cId="342781692" sldId="2586"/>
            <ac:spMk id="148" creationId="{BCBD0CD0-316A-4B9E-BE13-9747FB759FB5}"/>
          </ac:spMkLst>
        </pc:spChg>
        <pc:cxnChg chg="add del mod">
          <ac:chgData name="Müller, Kurt (SI BP S TSS TR)" userId="e7e82c7e-80c6-42a5-ab71-24588885b7fe" providerId="ADAL" clId="{9FEA2841-5B76-4EDB-8984-1B2D4375FBAF}" dt="2021-07-21T09:54:19.940" v="1611" actId="478"/>
          <ac:cxnSpMkLst>
            <pc:docMk/>
            <pc:sldMk cId="342781692" sldId="2586"/>
            <ac:cxnSpMk id="6" creationId="{68F01CA8-407F-494F-95B2-5AB4CDD20174}"/>
          </ac:cxnSpMkLst>
        </pc:cxnChg>
        <pc:cxnChg chg="add mod">
          <ac:chgData name="Müller, Kurt (SI BP S TSS TR)" userId="e7e82c7e-80c6-42a5-ab71-24588885b7fe" providerId="ADAL" clId="{9FEA2841-5B76-4EDB-8984-1B2D4375FBAF}" dt="2021-07-21T09:54:55.812" v="1616" actId="1076"/>
          <ac:cxnSpMkLst>
            <pc:docMk/>
            <pc:sldMk cId="342781692" sldId="2586"/>
            <ac:cxnSpMk id="84" creationId="{B2759B30-FA28-4CB2-83E5-0C098A6C1FA2}"/>
          </ac:cxnSpMkLst>
        </pc:cxnChg>
        <pc:cxnChg chg="add mod">
          <ac:chgData name="Müller, Kurt (SI BP S TSS TR)" userId="e7e82c7e-80c6-42a5-ab71-24588885b7fe" providerId="ADAL" clId="{9FEA2841-5B76-4EDB-8984-1B2D4375FBAF}" dt="2021-07-21T09:54:54.011" v="1615" actId="1076"/>
          <ac:cxnSpMkLst>
            <pc:docMk/>
            <pc:sldMk cId="342781692" sldId="2586"/>
            <ac:cxnSpMk id="86" creationId="{4BD36360-DDD9-4F6F-8DCB-5C7766BD5C43}"/>
          </ac:cxnSpMkLst>
        </pc:cxnChg>
        <pc:cxnChg chg="add mod">
          <ac:chgData name="Müller, Kurt (SI BP S TSS TR)" userId="e7e82c7e-80c6-42a5-ab71-24588885b7fe" providerId="ADAL" clId="{9FEA2841-5B76-4EDB-8984-1B2D4375FBAF}" dt="2021-07-21T09:55:20.330" v="1618" actId="1076"/>
          <ac:cxnSpMkLst>
            <pc:docMk/>
            <pc:sldMk cId="342781692" sldId="2586"/>
            <ac:cxnSpMk id="89" creationId="{8DB017D6-3452-40CC-A5AF-246084C28B71}"/>
          </ac:cxnSpMkLst>
        </pc:cxnChg>
        <pc:cxnChg chg="add mod">
          <ac:chgData name="Müller, Kurt (SI BP S TSS TR)" userId="e7e82c7e-80c6-42a5-ab71-24588885b7fe" providerId="ADAL" clId="{9FEA2841-5B76-4EDB-8984-1B2D4375FBAF}" dt="2021-07-21T09:55:25.035" v="1621" actId="1076"/>
          <ac:cxnSpMkLst>
            <pc:docMk/>
            <pc:sldMk cId="342781692" sldId="2586"/>
            <ac:cxnSpMk id="90" creationId="{72B72F4E-9AC8-4900-90F0-CDCF53C7153D}"/>
          </ac:cxnSpMkLst>
        </pc:cxnChg>
      </pc:sldChg>
      <pc:sldMasterChg chg="modSp mod">
        <pc:chgData name="Müller, Kurt (SI BP S TSS TR)" userId="e7e82c7e-80c6-42a5-ab71-24588885b7fe" providerId="ADAL" clId="{9FEA2841-5B76-4EDB-8984-1B2D4375FBAF}" dt="2021-07-21T09:05:08.662" v="822" actId="13926"/>
        <pc:sldMasterMkLst>
          <pc:docMk/>
          <pc:sldMasterMk cId="0" sldId="2147483669"/>
        </pc:sldMasterMkLst>
        <pc:graphicFrameChg chg="modGraphic">
          <ac:chgData name="Müller, Kurt (SI BP S TSS TR)" userId="e7e82c7e-80c6-42a5-ab71-24588885b7fe" providerId="ADAL" clId="{9FEA2841-5B76-4EDB-8984-1B2D4375FBAF}" dt="2021-07-21T09:05:08.662" v="822" actId="13926"/>
          <ac:graphicFrameMkLst>
            <pc:docMk/>
            <pc:sldMasterMk cId="0" sldId="2147483669"/>
            <ac:graphicFrameMk id="47" creationId="{A634B162-C6F9-49DC-B798-6461245F51A5}"/>
          </ac:graphicFrameMkLst>
        </pc:graphicFrameChg>
      </pc:sldMasterChg>
    </pc:docChg>
  </pc:docChgLst>
  <pc:docChgLst>
    <pc:chgData name="Müller, Kurt (SI BP S&amp;C CS&amp;TR TR)" userId="e7e82c7e-80c6-42a5-ab71-24588885b7fe" providerId="ADAL" clId="{9A68D976-6B27-41CF-A773-96FB881042A0}"/>
    <pc:docChg chg="undo custSel addSld modSld">
      <pc:chgData name="Müller, Kurt (SI BP S&amp;C CS&amp;TR TR)" userId="e7e82c7e-80c6-42a5-ab71-24588885b7fe" providerId="ADAL" clId="{9A68D976-6B27-41CF-A773-96FB881042A0}" dt="2021-03-24T18:58:06.463" v="259" actId="14734"/>
      <pc:docMkLst>
        <pc:docMk/>
      </pc:docMkLst>
      <pc:sldChg chg="modSp mod">
        <pc:chgData name="Müller, Kurt (SI BP S&amp;C CS&amp;TR TR)" userId="e7e82c7e-80c6-42a5-ab71-24588885b7fe" providerId="ADAL" clId="{9A68D976-6B27-41CF-A773-96FB881042A0}" dt="2021-03-24T18:06:33.587" v="11" actId="1076"/>
        <pc:sldMkLst>
          <pc:docMk/>
          <pc:sldMk cId="627141999" sldId="2389"/>
        </pc:sldMkLst>
        <pc:spChg chg="mod">
          <ac:chgData name="Müller, Kurt (SI BP S&amp;C CS&amp;TR TR)" userId="e7e82c7e-80c6-42a5-ab71-24588885b7fe" providerId="ADAL" clId="{9A68D976-6B27-41CF-A773-96FB881042A0}" dt="2021-03-24T18:06:33.587" v="11" actId="1076"/>
          <ac:spMkLst>
            <pc:docMk/>
            <pc:sldMk cId="627141999" sldId="2389"/>
            <ac:spMk id="2" creationId="{A3A340E7-F2AC-49F5-95D7-76AEC088FB42}"/>
          </ac:spMkLst>
        </pc:spChg>
        <pc:spChg chg="mod">
          <ac:chgData name="Müller, Kurt (SI BP S&amp;C CS&amp;TR TR)" userId="e7e82c7e-80c6-42a5-ab71-24588885b7fe" providerId="ADAL" clId="{9A68D976-6B27-41CF-A773-96FB881042A0}" dt="2021-03-24T18:06:31.711" v="10" actId="1076"/>
          <ac:spMkLst>
            <pc:docMk/>
            <pc:sldMk cId="627141999" sldId="2389"/>
            <ac:spMk id="83" creationId="{DC9395C4-B05A-47BF-A5E9-6ED9A5703C90}"/>
          </ac:spMkLst>
        </pc:spChg>
        <pc:spChg chg="mod">
          <ac:chgData name="Müller, Kurt (SI BP S&amp;C CS&amp;TR TR)" userId="e7e82c7e-80c6-42a5-ab71-24588885b7fe" providerId="ADAL" clId="{9A68D976-6B27-41CF-A773-96FB881042A0}" dt="2021-03-24T18:06:12.542" v="6" actId="1076"/>
          <ac:spMkLst>
            <pc:docMk/>
            <pc:sldMk cId="627141999" sldId="2389"/>
            <ac:spMk id="427" creationId="{5268E09B-EE08-4AF3-9C31-89F0FD9C9F0A}"/>
          </ac:spMkLst>
        </pc:spChg>
        <pc:spChg chg="mod">
          <ac:chgData name="Müller, Kurt (SI BP S&amp;C CS&amp;TR TR)" userId="e7e82c7e-80c6-42a5-ab71-24588885b7fe" providerId="ADAL" clId="{9A68D976-6B27-41CF-A773-96FB881042A0}" dt="2021-03-24T18:06:17.214" v="7" actId="1076"/>
          <ac:spMkLst>
            <pc:docMk/>
            <pc:sldMk cId="627141999" sldId="2389"/>
            <ac:spMk id="460" creationId="{5D251EA0-E31A-4F86-995A-967C431DB5C6}"/>
          </ac:spMkLst>
        </pc:spChg>
        <pc:grpChg chg="mod">
          <ac:chgData name="Müller, Kurt (SI BP S&amp;C CS&amp;TR TR)" userId="e7e82c7e-80c6-42a5-ab71-24588885b7fe" providerId="ADAL" clId="{9A68D976-6B27-41CF-A773-96FB881042A0}" dt="2021-03-24T18:06:24.837" v="9" actId="14100"/>
          <ac:grpSpMkLst>
            <pc:docMk/>
            <pc:sldMk cId="627141999" sldId="2389"/>
            <ac:grpSpMk id="50" creationId="{673BBA04-5FB5-4630-AE6E-E8D7FDD67962}"/>
          </ac:grpSpMkLst>
        </pc:grpChg>
        <pc:picChg chg="mod">
          <ac:chgData name="Müller, Kurt (SI BP S&amp;C CS&amp;TR TR)" userId="e7e82c7e-80c6-42a5-ab71-24588885b7fe" providerId="ADAL" clId="{9A68D976-6B27-41CF-A773-96FB881042A0}" dt="2021-03-24T18:06:24.837" v="9" actId="14100"/>
          <ac:picMkLst>
            <pc:docMk/>
            <pc:sldMk cId="627141999" sldId="2389"/>
            <ac:picMk id="82" creationId="{99F296A2-AB72-4DA0-B639-3B3C6F1686DC}"/>
          </ac:picMkLst>
        </pc:picChg>
        <pc:cxnChg chg="mod">
          <ac:chgData name="Müller, Kurt (SI BP S&amp;C CS&amp;TR TR)" userId="e7e82c7e-80c6-42a5-ab71-24588885b7fe" providerId="ADAL" clId="{9A68D976-6B27-41CF-A773-96FB881042A0}" dt="2021-03-24T18:06:24.837" v="9" actId="14100"/>
          <ac:cxnSpMkLst>
            <pc:docMk/>
            <pc:sldMk cId="627141999" sldId="2389"/>
            <ac:cxnSpMk id="81" creationId="{19C41384-A955-4183-9862-1F23C005AC5C}"/>
          </ac:cxnSpMkLst>
        </pc:cxnChg>
        <pc:cxnChg chg="mod">
          <ac:chgData name="Müller, Kurt (SI BP S&amp;C CS&amp;TR TR)" userId="e7e82c7e-80c6-42a5-ab71-24588885b7fe" providerId="ADAL" clId="{9A68D976-6B27-41CF-A773-96FB881042A0}" dt="2021-03-24T18:05:47.240" v="0" actId="1076"/>
          <ac:cxnSpMkLst>
            <pc:docMk/>
            <pc:sldMk cId="627141999" sldId="2389"/>
            <ac:cxnSpMk id="431" creationId="{94D88AAD-A0E4-4B9E-8033-8CAA88513CDB}"/>
          </ac:cxnSpMkLst>
        </pc:cxnChg>
      </pc:sldChg>
      <pc:sldChg chg="addSp modSp mod modAnim">
        <pc:chgData name="Müller, Kurt (SI BP S&amp;C CS&amp;TR TR)" userId="e7e82c7e-80c6-42a5-ab71-24588885b7fe" providerId="ADAL" clId="{9A68D976-6B27-41CF-A773-96FB881042A0}" dt="2021-03-24T18:15:47.785" v="69"/>
        <pc:sldMkLst>
          <pc:docMk/>
          <pc:sldMk cId="4211098316" sldId="2527"/>
        </pc:sldMkLst>
        <pc:spChg chg="mod">
          <ac:chgData name="Müller, Kurt (SI BP S&amp;C CS&amp;TR TR)" userId="e7e82c7e-80c6-42a5-ab71-24588885b7fe" providerId="ADAL" clId="{9A68D976-6B27-41CF-A773-96FB881042A0}" dt="2021-03-24T18:15:33.837" v="66" actId="14100"/>
          <ac:spMkLst>
            <pc:docMk/>
            <pc:sldMk cId="4211098316" sldId="2527"/>
            <ac:spMk id="250" creationId="{9BD693E4-C165-4111-8BA8-D70EFB283936}"/>
          </ac:spMkLst>
        </pc:spChg>
        <pc:spChg chg="add mod">
          <ac:chgData name="Müller, Kurt (SI BP S&amp;C CS&amp;TR TR)" userId="e7e82c7e-80c6-42a5-ab71-24588885b7fe" providerId="ADAL" clId="{9A68D976-6B27-41CF-A773-96FB881042A0}" dt="2021-03-24T18:15:38.349" v="68" actId="14100"/>
          <ac:spMkLst>
            <pc:docMk/>
            <pc:sldMk cId="4211098316" sldId="2527"/>
            <ac:spMk id="264" creationId="{5D3FF9C7-DE0B-472A-AD5A-64282F9B4E58}"/>
          </ac:spMkLst>
        </pc:spChg>
      </pc:sldChg>
      <pc:sldChg chg="addSp delSp modSp mod delAnim modAnim">
        <pc:chgData name="Müller, Kurt (SI BP S&amp;C CS&amp;TR TR)" userId="e7e82c7e-80c6-42a5-ab71-24588885b7fe" providerId="ADAL" clId="{9A68D976-6B27-41CF-A773-96FB881042A0}" dt="2021-03-24T18:14:01.390" v="58" actId="1076"/>
        <pc:sldMkLst>
          <pc:docMk/>
          <pc:sldMk cId="3395677285" sldId="2555"/>
        </pc:sldMkLst>
        <pc:spChg chg="mod">
          <ac:chgData name="Müller, Kurt (SI BP S&amp;C CS&amp;TR TR)" userId="e7e82c7e-80c6-42a5-ab71-24588885b7fe" providerId="ADAL" clId="{9A68D976-6B27-41CF-A773-96FB881042A0}" dt="2021-03-24T18:12:29.703" v="45" actId="14100"/>
          <ac:spMkLst>
            <pc:docMk/>
            <pc:sldMk cId="3395677285" sldId="2555"/>
            <ac:spMk id="92" creationId="{9CFBEAFE-16A9-4E43-A9AF-046EE004E582}"/>
          </ac:spMkLst>
        </pc:spChg>
        <pc:spChg chg="mod">
          <ac:chgData name="Müller, Kurt (SI BP S&amp;C CS&amp;TR TR)" userId="e7e82c7e-80c6-42a5-ab71-24588885b7fe" providerId="ADAL" clId="{9A68D976-6B27-41CF-A773-96FB881042A0}" dt="2021-03-24T18:13:54.637" v="56" actId="14100"/>
          <ac:spMkLst>
            <pc:docMk/>
            <pc:sldMk cId="3395677285" sldId="2555"/>
            <ac:spMk id="146" creationId="{16587747-ACFF-4229-92C1-5B4B6199AE75}"/>
          </ac:spMkLst>
        </pc:spChg>
        <pc:grpChg chg="del">
          <ac:chgData name="Müller, Kurt (SI BP S&amp;C CS&amp;TR TR)" userId="e7e82c7e-80c6-42a5-ab71-24588885b7fe" providerId="ADAL" clId="{9A68D976-6B27-41CF-A773-96FB881042A0}" dt="2021-03-24T18:11:50.909" v="32" actId="478"/>
          <ac:grpSpMkLst>
            <pc:docMk/>
            <pc:sldMk cId="3395677285" sldId="2555"/>
            <ac:grpSpMk id="93" creationId="{A9C7ECD7-DCF8-44F6-AB9E-C4F79AF9989D}"/>
          </ac:grpSpMkLst>
        </pc:grpChg>
        <pc:grpChg chg="mod">
          <ac:chgData name="Müller, Kurt (SI BP S&amp;C CS&amp;TR TR)" userId="e7e82c7e-80c6-42a5-ab71-24588885b7fe" providerId="ADAL" clId="{9A68D976-6B27-41CF-A773-96FB881042A0}" dt="2021-03-24T18:13:54.637" v="56" actId="14100"/>
          <ac:grpSpMkLst>
            <pc:docMk/>
            <pc:sldMk cId="3395677285" sldId="2555"/>
            <ac:grpSpMk id="144" creationId="{39A5A16C-8EE3-4146-ADED-81F358E8C5A0}"/>
          </ac:grpSpMkLst>
        </pc:grpChg>
        <pc:grpChg chg="del">
          <ac:chgData name="Müller, Kurt (SI BP S&amp;C CS&amp;TR TR)" userId="e7e82c7e-80c6-42a5-ab71-24588885b7fe" providerId="ADAL" clId="{9A68D976-6B27-41CF-A773-96FB881042A0}" dt="2021-03-24T18:11:52.420" v="33" actId="478"/>
          <ac:grpSpMkLst>
            <pc:docMk/>
            <pc:sldMk cId="3395677285" sldId="2555"/>
            <ac:grpSpMk id="162" creationId="{43D00826-E34C-4891-9AC1-A014197E68BC}"/>
          </ac:grpSpMkLst>
        </pc:grpChg>
        <pc:picChg chg="add mod">
          <ac:chgData name="Müller, Kurt (SI BP S&amp;C CS&amp;TR TR)" userId="e7e82c7e-80c6-42a5-ab71-24588885b7fe" providerId="ADAL" clId="{9A68D976-6B27-41CF-A773-96FB881042A0}" dt="2021-03-24T18:12:34.967" v="47" actId="14100"/>
          <ac:picMkLst>
            <pc:docMk/>
            <pc:sldMk cId="3395677285" sldId="2555"/>
            <ac:picMk id="2" creationId="{29CE2A61-9301-4274-9457-C5FB57B19215}"/>
          </ac:picMkLst>
        </pc:picChg>
        <pc:picChg chg="del">
          <ac:chgData name="Müller, Kurt (SI BP S&amp;C CS&amp;TR TR)" userId="e7e82c7e-80c6-42a5-ab71-24588885b7fe" providerId="ADAL" clId="{9A68D976-6B27-41CF-A773-96FB881042A0}" dt="2021-03-24T18:13:04.924" v="48" actId="478"/>
          <ac:picMkLst>
            <pc:docMk/>
            <pc:sldMk cId="3395677285" sldId="2555"/>
            <ac:picMk id="145" creationId="{FAD6D717-6C07-4D84-9007-6934DCEE1919}"/>
          </ac:picMkLst>
        </pc:picChg>
        <pc:picChg chg="mod">
          <ac:chgData name="Müller, Kurt (SI BP S&amp;C CS&amp;TR TR)" userId="e7e82c7e-80c6-42a5-ab71-24588885b7fe" providerId="ADAL" clId="{9A68D976-6B27-41CF-A773-96FB881042A0}" dt="2021-03-24T18:13:54.637" v="56" actId="14100"/>
          <ac:picMkLst>
            <pc:docMk/>
            <pc:sldMk cId="3395677285" sldId="2555"/>
            <ac:picMk id="147" creationId="{A2A644C0-08DF-433E-A320-FC739D6A0D0E}"/>
          </ac:picMkLst>
        </pc:picChg>
        <pc:picChg chg="add mod modCrop">
          <ac:chgData name="Müller, Kurt (SI BP S&amp;C CS&amp;TR TR)" userId="e7e82c7e-80c6-42a5-ab71-24588885b7fe" providerId="ADAL" clId="{9A68D976-6B27-41CF-A773-96FB881042A0}" dt="2021-03-24T18:14:01.390" v="58" actId="1076"/>
          <ac:picMkLst>
            <pc:docMk/>
            <pc:sldMk cId="3395677285" sldId="2555"/>
            <ac:picMk id="153" creationId="{2A44B6A3-9599-440A-9675-521F4BD92559}"/>
          </ac:picMkLst>
        </pc:picChg>
        <pc:cxnChg chg="mod">
          <ac:chgData name="Müller, Kurt (SI BP S&amp;C CS&amp;TR TR)" userId="e7e82c7e-80c6-42a5-ab71-24588885b7fe" providerId="ADAL" clId="{9A68D976-6B27-41CF-A773-96FB881042A0}" dt="2021-03-24T18:12:15.031" v="40" actId="14100"/>
          <ac:cxnSpMkLst>
            <pc:docMk/>
            <pc:sldMk cId="3395677285" sldId="2555"/>
            <ac:cxnSpMk id="84" creationId="{E37DA4CB-E738-4BD4-B511-23977B11E6F2}"/>
          </ac:cxnSpMkLst>
        </pc:cxnChg>
        <pc:cxnChg chg="mod">
          <ac:chgData name="Müller, Kurt (SI BP S&amp;C CS&amp;TR TR)" userId="e7e82c7e-80c6-42a5-ab71-24588885b7fe" providerId="ADAL" clId="{9A68D976-6B27-41CF-A773-96FB881042A0}" dt="2021-03-24T18:12:19.264" v="41" actId="1076"/>
          <ac:cxnSpMkLst>
            <pc:docMk/>
            <pc:sldMk cId="3395677285" sldId="2555"/>
            <ac:cxnSpMk id="89" creationId="{154F0960-4834-4B25-9DB1-E85AF5DDA62E}"/>
          </ac:cxnSpMkLst>
        </pc:cxnChg>
      </pc:sldChg>
      <pc:sldChg chg="modSp mod">
        <pc:chgData name="Müller, Kurt (SI BP S&amp;C CS&amp;TR TR)" userId="e7e82c7e-80c6-42a5-ab71-24588885b7fe" providerId="ADAL" clId="{9A68D976-6B27-41CF-A773-96FB881042A0}" dt="2021-03-24T18:18:54.101" v="70" actId="1076"/>
        <pc:sldMkLst>
          <pc:docMk/>
          <pc:sldMk cId="4214621097" sldId="2563"/>
        </pc:sldMkLst>
        <pc:picChg chg="mod">
          <ac:chgData name="Müller, Kurt (SI BP S&amp;C CS&amp;TR TR)" userId="e7e82c7e-80c6-42a5-ab71-24588885b7fe" providerId="ADAL" clId="{9A68D976-6B27-41CF-A773-96FB881042A0}" dt="2021-03-24T18:18:54.101" v="70" actId="1076"/>
          <ac:picMkLst>
            <pc:docMk/>
            <pc:sldMk cId="4214621097" sldId="2563"/>
            <ac:picMk id="3" creationId="{8C50B102-354D-4DD9-AB9C-39BDFD64BDA8}"/>
          </ac:picMkLst>
        </pc:picChg>
      </pc:sldChg>
      <pc:sldChg chg="delSp modSp mod">
        <pc:chgData name="Müller, Kurt (SI BP S&amp;C CS&amp;TR TR)" userId="e7e82c7e-80c6-42a5-ab71-24588885b7fe" providerId="ADAL" clId="{9A68D976-6B27-41CF-A773-96FB881042A0}" dt="2021-03-24T18:55:20.950" v="132" actId="478"/>
        <pc:sldMkLst>
          <pc:docMk/>
          <pc:sldMk cId="3026962512" sldId="2566"/>
        </pc:sldMkLst>
        <pc:spChg chg="del">
          <ac:chgData name="Müller, Kurt (SI BP S&amp;C CS&amp;TR TR)" userId="e7e82c7e-80c6-42a5-ab71-24588885b7fe" providerId="ADAL" clId="{9A68D976-6B27-41CF-A773-96FB881042A0}" dt="2021-03-24T18:55:20.950" v="132" actId="478"/>
          <ac:spMkLst>
            <pc:docMk/>
            <pc:sldMk cId="3026962512" sldId="2566"/>
            <ac:spMk id="46" creationId="{12EE9C2A-7AF3-4376-A34F-F8106C3E30CA}"/>
          </ac:spMkLst>
        </pc:spChg>
        <pc:spChg chg="mod">
          <ac:chgData name="Müller, Kurt (SI BP S&amp;C CS&amp;TR TR)" userId="e7e82c7e-80c6-42a5-ab71-24588885b7fe" providerId="ADAL" clId="{9A68D976-6B27-41CF-A773-96FB881042A0}" dt="2021-03-24T18:20:00.882" v="76" actId="1036"/>
          <ac:spMkLst>
            <pc:docMk/>
            <pc:sldMk cId="3026962512" sldId="2566"/>
            <ac:spMk id="311" creationId="{D9F24C8F-2E07-4E3D-8919-EFAEBC1AEABF}"/>
          </ac:spMkLst>
        </pc:spChg>
        <pc:spChg chg="mod">
          <ac:chgData name="Müller, Kurt (SI BP S&amp;C CS&amp;TR TR)" userId="e7e82c7e-80c6-42a5-ab71-24588885b7fe" providerId="ADAL" clId="{9A68D976-6B27-41CF-A773-96FB881042A0}" dt="2021-03-24T18:20:00.882" v="76" actId="1036"/>
          <ac:spMkLst>
            <pc:docMk/>
            <pc:sldMk cId="3026962512" sldId="2566"/>
            <ac:spMk id="313" creationId="{77B17012-937A-49BE-AFEC-502C19805FAE}"/>
          </ac:spMkLst>
        </pc:spChg>
        <pc:spChg chg="mod">
          <ac:chgData name="Müller, Kurt (SI BP S&amp;C CS&amp;TR TR)" userId="e7e82c7e-80c6-42a5-ab71-24588885b7fe" providerId="ADAL" clId="{9A68D976-6B27-41CF-A773-96FB881042A0}" dt="2021-03-24T18:20:00.882" v="76" actId="1036"/>
          <ac:spMkLst>
            <pc:docMk/>
            <pc:sldMk cId="3026962512" sldId="2566"/>
            <ac:spMk id="314" creationId="{104E8B6C-63C7-4852-AA34-2B34E7CC78B6}"/>
          </ac:spMkLst>
        </pc:spChg>
        <pc:spChg chg="mod">
          <ac:chgData name="Müller, Kurt (SI BP S&amp;C CS&amp;TR TR)" userId="e7e82c7e-80c6-42a5-ab71-24588885b7fe" providerId="ADAL" clId="{9A68D976-6B27-41CF-A773-96FB881042A0}" dt="2021-03-24T18:20:00.882" v="76" actId="1036"/>
          <ac:spMkLst>
            <pc:docMk/>
            <pc:sldMk cId="3026962512" sldId="2566"/>
            <ac:spMk id="315" creationId="{48CC50CA-93BF-41D1-A0BF-C297DCBCB6ED}"/>
          </ac:spMkLst>
        </pc:spChg>
        <pc:spChg chg="mod">
          <ac:chgData name="Müller, Kurt (SI BP S&amp;C CS&amp;TR TR)" userId="e7e82c7e-80c6-42a5-ab71-24588885b7fe" providerId="ADAL" clId="{9A68D976-6B27-41CF-A773-96FB881042A0}" dt="2021-03-24T18:20:00.882" v="76" actId="1036"/>
          <ac:spMkLst>
            <pc:docMk/>
            <pc:sldMk cId="3026962512" sldId="2566"/>
            <ac:spMk id="316" creationId="{D6741012-2B0C-493A-8520-A962F18DD625}"/>
          </ac:spMkLst>
        </pc:spChg>
        <pc:spChg chg="mod">
          <ac:chgData name="Müller, Kurt (SI BP S&amp;C CS&amp;TR TR)" userId="e7e82c7e-80c6-42a5-ab71-24588885b7fe" providerId="ADAL" clId="{9A68D976-6B27-41CF-A773-96FB881042A0}" dt="2021-03-24T18:20:00.882" v="76" actId="1036"/>
          <ac:spMkLst>
            <pc:docMk/>
            <pc:sldMk cId="3026962512" sldId="2566"/>
            <ac:spMk id="320" creationId="{8555CEE3-AC6B-4B8D-8510-9F0E93BD2563}"/>
          </ac:spMkLst>
        </pc:spChg>
        <pc:spChg chg="mod">
          <ac:chgData name="Müller, Kurt (SI BP S&amp;C CS&amp;TR TR)" userId="e7e82c7e-80c6-42a5-ab71-24588885b7fe" providerId="ADAL" clId="{9A68D976-6B27-41CF-A773-96FB881042A0}" dt="2021-03-24T18:20:00.882" v="76" actId="1036"/>
          <ac:spMkLst>
            <pc:docMk/>
            <pc:sldMk cId="3026962512" sldId="2566"/>
            <ac:spMk id="321" creationId="{DA8E18FD-A778-487F-8CBB-89F37754C0CF}"/>
          </ac:spMkLst>
        </pc:spChg>
        <pc:spChg chg="mod">
          <ac:chgData name="Müller, Kurt (SI BP S&amp;C CS&amp;TR TR)" userId="e7e82c7e-80c6-42a5-ab71-24588885b7fe" providerId="ADAL" clId="{9A68D976-6B27-41CF-A773-96FB881042A0}" dt="2021-03-24T18:20:00.882" v="76" actId="1036"/>
          <ac:spMkLst>
            <pc:docMk/>
            <pc:sldMk cId="3026962512" sldId="2566"/>
            <ac:spMk id="322" creationId="{73A28762-252C-4E06-B4D2-C39F9760D7E1}"/>
          </ac:spMkLst>
        </pc:spChg>
        <pc:spChg chg="mod">
          <ac:chgData name="Müller, Kurt (SI BP S&amp;C CS&amp;TR TR)" userId="e7e82c7e-80c6-42a5-ab71-24588885b7fe" providerId="ADAL" clId="{9A68D976-6B27-41CF-A773-96FB881042A0}" dt="2021-03-24T18:20:00.882" v="76" actId="1036"/>
          <ac:spMkLst>
            <pc:docMk/>
            <pc:sldMk cId="3026962512" sldId="2566"/>
            <ac:spMk id="323" creationId="{5166BCD8-2366-4FA8-93F0-A427ACA04300}"/>
          </ac:spMkLst>
        </pc:spChg>
        <pc:spChg chg="mod">
          <ac:chgData name="Müller, Kurt (SI BP S&amp;C CS&amp;TR TR)" userId="e7e82c7e-80c6-42a5-ab71-24588885b7fe" providerId="ADAL" clId="{9A68D976-6B27-41CF-A773-96FB881042A0}" dt="2021-03-24T18:20:00.882" v="76" actId="1036"/>
          <ac:spMkLst>
            <pc:docMk/>
            <pc:sldMk cId="3026962512" sldId="2566"/>
            <ac:spMk id="324" creationId="{A7F0E469-31DB-4A43-BC63-5FBD5D465214}"/>
          </ac:spMkLst>
        </pc:spChg>
        <pc:spChg chg="mod">
          <ac:chgData name="Müller, Kurt (SI BP S&amp;C CS&amp;TR TR)" userId="e7e82c7e-80c6-42a5-ab71-24588885b7fe" providerId="ADAL" clId="{9A68D976-6B27-41CF-A773-96FB881042A0}" dt="2021-03-24T18:20:00.882" v="76" actId="1036"/>
          <ac:spMkLst>
            <pc:docMk/>
            <pc:sldMk cId="3026962512" sldId="2566"/>
            <ac:spMk id="325" creationId="{ABE6A146-7E41-4BC7-8FC2-DBE9233F944E}"/>
          </ac:spMkLst>
        </pc:spChg>
        <pc:spChg chg="mod">
          <ac:chgData name="Müller, Kurt (SI BP S&amp;C CS&amp;TR TR)" userId="e7e82c7e-80c6-42a5-ab71-24588885b7fe" providerId="ADAL" clId="{9A68D976-6B27-41CF-A773-96FB881042A0}" dt="2021-03-24T18:20:00.882" v="76" actId="1036"/>
          <ac:spMkLst>
            <pc:docMk/>
            <pc:sldMk cId="3026962512" sldId="2566"/>
            <ac:spMk id="326" creationId="{E4D87E98-3CC3-4E52-A819-4992A6565B97}"/>
          </ac:spMkLst>
        </pc:spChg>
        <pc:spChg chg="mod">
          <ac:chgData name="Müller, Kurt (SI BP S&amp;C CS&amp;TR TR)" userId="e7e82c7e-80c6-42a5-ab71-24588885b7fe" providerId="ADAL" clId="{9A68D976-6B27-41CF-A773-96FB881042A0}" dt="2021-03-24T18:20:00.882" v="76" actId="1036"/>
          <ac:spMkLst>
            <pc:docMk/>
            <pc:sldMk cId="3026962512" sldId="2566"/>
            <ac:spMk id="327" creationId="{DA0FA4A8-7556-4671-BEB3-032708B44841}"/>
          </ac:spMkLst>
        </pc:spChg>
        <pc:spChg chg="mod">
          <ac:chgData name="Müller, Kurt (SI BP S&amp;C CS&amp;TR TR)" userId="e7e82c7e-80c6-42a5-ab71-24588885b7fe" providerId="ADAL" clId="{9A68D976-6B27-41CF-A773-96FB881042A0}" dt="2021-03-24T18:20:00.882" v="76" actId="1036"/>
          <ac:spMkLst>
            <pc:docMk/>
            <pc:sldMk cId="3026962512" sldId="2566"/>
            <ac:spMk id="328" creationId="{A872384F-42BC-4101-BBAB-11CA1E8F9C4F}"/>
          </ac:spMkLst>
        </pc:spChg>
        <pc:spChg chg="mod">
          <ac:chgData name="Müller, Kurt (SI BP S&amp;C CS&amp;TR TR)" userId="e7e82c7e-80c6-42a5-ab71-24588885b7fe" providerId="ADAL" clId="{9A68D976-6B27-41CF-A773-96FB881042A0}" dt="2021-03-24T18:20:00.882" v="76" actId="1036"/>
          <ac:spMkLst>
            <pc:docMk/>
            <pc:sldMk cId="3026962512" sldId="2566"/>
            <ac:spMk id="331" creationId="{7E1DF0E8-0E16-4E64-9C6C-C4B9543F3C3B}"/>
          </ac:spMkLst>
        </pc:spChg>
        <pc:spChg chg="mod">
          <ac:chgData name="Müller, Kurt (SI BP S&amp;C CS&amp;TR TR)" userId="e7e82c7e-80c6-42a5-ab71-24588885b7fe" providerId="ADAL" clId="{9A68D976-6B27-41CF-A773-96FB881042A0}" dt="2021-03-24T18:20:00.882" v="76" actId="1036"/>
          <ac:spMkLst>
            <pc:docMk/>
            <pc:sldMk cId="3026962512" sldId="2566"/>
            <ac:spMk id="333" creationId="{291440DF-5D4D-4F1E-8F46-20FC3BB8FC90}"/>
          </ac:spMkLst>
        </pc:spChg>
        <pc:spChg chg="mod">
          <ac:chgData name="Müller, Kurt (SI BP S&amp;C CS&amp;TR TR)" userId="e7e82c7e-80c6-42a5-ab71-24588885b7fe" providerId="ADAL" clId="{9A68D976-6B27-41CF-A773-96FB881042A0}" dt="2021-03-24T18:20:00.882" v="76" actId="1036"/>
          <ac:spMkLst>
            <pc:docMk/>
            <pc:sldMk cId="3026962512" sldId="2566"/>
            <ac:spMk id="334" creationId="{FC371741-A4B2-4BAA-AA94-6C463167F4ED}"/>
          </ac:spMkLst>
        </pc:spChg>
        <pc:spChg chg="mod">
          <ac:chgData name="Müller, Kurt (SI BP S&amp;C CS&amp;TR TR)" userId="e7e82c7e-80c6-42a5-ab71-24588885b7fe" providerId="ADAL" clId="{9A68D976-6B27-41CF-A773-96FB881042A0}" dt="2021-03-24T18:20:00.882" v="76" actId="1036"/>
          <ac:spMkLst>
            <pc:docMk/>
            <pc:sldMk cId="3026962512" sldId="2566"/>
            <ac:spMk id="335" creationId="{2F382763-F22D-4C66-9AB1-1543F5681BCF}"/>
          </ac:spMkLst>
        </pc:spChg>
        <pc:spChg chg="mod">
          <ac:chgData name="Müller, Kurt (SI BP S&amp;C CS&amp;TR TR)" userId="e7e82c7e-80c6-42a5-ab71-24588885b7fe" providerId="ADAL" clId="{9A68D976-6B27-41CF-A773-96FB881042A0}" dt="2021-03-24T18:20:00.882" v="76" actId="1036"/>
          <ac:spMkLst>
            <pc:docMk/>
            <pc:sldMk cId="3026962512" sldId="2566"/>
            <ac:spMk id="336" creationId="{D305D805-3B8B-4A0D-ACEA-C5075B5E09CD}"/>
          </ac:spMkLst>
        </pc:spChg>
        <pc:spChg chg="mod">
          <ac:chgData name="Müller, Kurt (SI BP S&amp;C CS&amp;TR TR)" userId="e7e82c7e-80c6-42a5-ab71-24588885b7fe" providerId="ADAL" clId="{9A68D976-6B27-41CF-A773-96FB881042A0}" dt="2021-03-24T18:20:00.882" v="76" actId="1036"/>
          <ac:spMkLst>
            <pc:docMk/>
            <pc:sldMk cId="3026962512" sldId="2566"/>
            <ac:spMk id="340" creationId="{32E1768E-5235-4B7F-ABF5-1F16BBB3643C}"/>
          </ac:spMkLst>
        </pc:spChg>
        <pc:spChg chg="mod">
          <ac:chgData name="Müller, Kurt (SI BP S&amp;C CS&amp;TR TR)" userId="e7e82c7e-80c6-42a5-ab71-24588885b7fe" providerId="ADAL" clId="{9A68D976-6B27-41CF-A773-96FB881042A0}" dt="2021-03-24T18:20:00.882" v="76" actId="1036"/>
          <ac:spMkLst>
            <pc:docMk/>
            <pc:sldMk cId="3026962512" sldId="2566"/>
            <ac:spMk id="341" creationId="{1733F00B-7E9A-4598-99EC-4D4AAEE87C75}"/>
          </ac:spMkLst>
        </pc:spChg>
        <pc:spChg chg="mod">
          <ac:chgData name="Müller, Kurt (SI BP S&amp;C CS&amp;TR TR)" userId="e7e82c7e-80c6-42a5-ab71-24588885b7fe" providerId="ADAL" clId="{9A68D976-6B27-41CF-A773-96FB881042A0}" dt="2021-03-24T18:20:00.882" v="76" actId="1036"/>
          <ac:spMkLst>
            <pc:docMk/>
            <pc:sldMk cId="3026962512" sldId="2566"/>
            <ac:spMk id="342" creationId="{A455A99E-92BC-4CA8-BE64-FDB78F58109D}"/>
          </ac:spMkLst>
        </pc:spChg>
        <pc:spChg chg="mod">
          <ac:chgData name="Müller, Kurt (SI BP S&amp;C CS&amp;TR TR)" userId="e7e82c7e-80c6-42a5-ab71-24588885b7fe" providerId="ADAL" clId="{9A68D976-6B27-41CF-A773-96FB881042A0}" dt="2021-03-24T18:20:00.882" v="76" actId="1036"/>
          <ac:spMkLst>
            <pc:docMk/>
            <pc:sldMk cId="3026962512" sldId="2566"/>
            <ac:spMk id="343" creationId="{0811D752-E1AC-4B90-B003-46F74247D479}"/>
          </ac:spMkLst>
        </pc:spChg>
        <pc:spChg chg="mod">
          <ac:chgData name="Müller, Kurt (SI BP S&amp;C CS&amp;TR TR)" userId="e7e82c7e-80c6-42a5-ab71-24588885b7fe" providerId="ADAL" clId="{9A68D976-6B27-41CF-A773-96FB881042A0}" dt="2021-03-24T18:20:00.882" v="76" actId="1036"/>
          <ac:spMkLst>
            <pc:docMk/>
            <pc:sldMk cId="3026962512" sldId="2566"/>
            <ac:spMk id="344" creationId="{24A6C3C6-0C7E-4D82-820D-52FC8DD56CC0}"/>
          </ac:spMkLst>
        </pc:spChg>
        <pc:spChg chg="mod">
          <ac:chgData name="Müller, Kurt (SI BP S&amp;C CS&amp;TR TR)" userId="e7e82c7e-80c6-42a5-ab71-24588885b7fe" providerId="ADAL" clId="{9A68D976-6B27-41CF-A773-96FB881042A0}" dt="2021-03-24T18:20:00.882" v="76" actId="1036"/>
          <ac:spMkLst>
            <pc:docMk/>
            <pc:sldMk cId="3026962512" sldId="2566"/>
            <ac:spMk id="345" creationId="{0A6A1738-9884-4017-8007-1A721FE7DBB3}"/>
          </ac:spMkLst>
        </pc:spChg>
        <pc:spChg chg="mod">
          <ac:chgData name="Müller, Kurt (SI BP S&amp;C CS&amp;TR TR)" userId="e7e82c7e-80c6-42a5-ab71-24588885b7fe" providerId="ADAL" clId="{9A68D976-6B27-41CF-A773-96FB881042A0}" dt="2021-03-24T18:20:00.882" v="76" actId="1036"/>
          <ac:spMkLst>
            <pc:docMk/>
            <pc:sldMk cId="3026962512" sldId="2566"/>
            <ac:spMk id="346" creationId="{445A1DA7-D555-48E0-979A-98F99D527974}"/>
          </ac:spMkLst>
        </pc:spChg>
        <pc:spChg chg="mod">
          <ac:chgData name="Müller, Kurt (SI BP S&amp;C CS&amp;TR TR)" userId="e7e82c7e-80c6-42a5-ab71-24588885b7fe" providerId="ADAL" clId="{9A68D976-6B27-41CF-A773-96FB881042A0}" dt="2021-03-24T18:20:00.882" v="76" actId="1036"/>
          <ac:spMkLst>
            <pc:docMk/>
            <pc:sldMk cId="3026962512" sldId="2566"/>
            <ac:spMk id="347" creationId="{103029F7-4593-43D5-8750-A4333F46AF0E}"/>
          </ac:spMkLst>
        </pc:spChg>
        <pc:spChg chg="mod">
          <ac:chgData name="Müller, Kurt (SI BP S&amp;C CS&amp;TR TR)" userId="e7e82c7e-80c6-42a5-ab71-24588885b7fe" providerId="ADAL" clId="{9A68D976-6B27-41CF-A773-96FB881042A0}" dt="2021-03-24T18:20:00.882" v="76" actId="1036"/>
          <ac:spMkLst>
            <pc:docMk/>
            <pc:sldMk cId="3026962512" sldId="2566"/>
            <ac:spMk id="348" creationId="{A9CCAF45-E143-42FF-ADAE-7AAB4438C39E}"/>
          </ac:spMkLst>
        </pc:spChg>
        <pc:spChg chg="mod">
          <ac:chgData name="Müller, Kurt (SI BP S&amp;C CS&amp;TR TR)" userId="e7e82c7e-80c6-42a5-ab71-24588885b7fe" providerId="ADAL" clId="{9A68D976-6B27-41CF-A773-96FB881042A0}" dt="2021-03-24T18:20:00.882" v="76" actId="1036"/>
          <ac:spMkLst>
            <pc:docMk/>
            <pc:sldMk cId="3026962512" sldId="2566"/>
            <ac:spMk id="351" creationId="{F51E3DA9-8DC2-4CAB-B29C-3463046078A7}"/>
          </ac:spMkLst>
        </pc:spChg>
        <pc:spChg chg="mod">
          <ac:chgData name="Müller, Kurt (SI BP S&amp;C CS&amp;TR TR)" userId="e7e82c7e-80c6-42a5-ab71-24588885b7fe" providerId="ADAL" clId="{9A68D976-6B27-41CF-A773-96FB881042A0}" dt="2021-03-24T18:20:00.882" v="76" actId="1036"/>
          <ac:spMkLst>
            <pc:docMk/>
            <pc:sldMk cId="3026962512" sldId="2566"/>
            <ac:spMk id="353" creationId="{F677CB0C-8058-4A4F-A931-0A5A2E9B6EFE}"/>
          </ac:spMkLst>
        </pc:spChg>
        <pc:spChg chg="mod">
          <ac:chgData name="Müller, Kurt (SI BP S&amp;C CS&amp;TR TR)" userId="e7e82c7e-80c6-42a5-ab71-24588885b7fe" providerId="ADAL" clId="{9A68D976-6B27-41CF-A773-96FB881042A0}" dt="2021-03-24T18:20:00.882" v="76" actId="1036"/>
          <ac:spMkLst>
            <pc:docMk/>
            <pc:sldMk cId="3026962512" sldId="2566"/>
            <ac:spMk id="354" creationId="{CE179DBB-2E1D-4940-8DD2-9917ADD5485B}"/>
          </ac:spMkLst>
        </pc:spChg>
        <pc:spChg chg="mod">
          <ac:chgData name="Müller, Kurt (SI BP S&amp;C CS&amp;TR TR)" userId="e7e82c7e-80c6-42a5-ab71-24588885b7fe" providerId="ADAL" clId="{9A68D976-6B27-41CF-A773-96FB881042A0}" dt="2021-03-24T18:20:00.882" v="76" actId="1036"/>
          <ac:spMkLst>
            <pc:docMk/>
            <pc:sldMk cId="3026962512" sldId="2566"/>
            <ac:spMk id="355" creationId="{F459E822-F99D-4884-AF74-DCF50146F66B}"/>
          </ac:spMkLst>
        </pc:spChg>
        <pc:spChg chg="mod">
          <ac:chgData name="Müller, Kurt (SI BP S&amp;C CS&amp;TR TR)" userId="e7e82c7e-80c6-42a5-ab71-24588885b7fe" providerId="ADAL" clId="{9A68D976-6B27-41CF-A773-96FB881042A0}" dt="2021-03-24T18:20:00.882" v="76" actId="1036"/>
          <ac:spMkLst>
            <pc:docMk/>
            <pc:sldMk cId="3026962512" sldId="2566"/>
            <ac:spMk id="356" creationId="{0F77FB6B-7A69-4727-A0EC-240EB7A45A11}"/>
          </ac:spMkLst>
        </pc:spChg>
        <pc:spChg chg="mod">
          <ac:chgData name="Müller, Kurt (SI BP S&amp;C CS&amp;TR TR)" userId="e7e82c7e-80c6-42a5-ab71-24588885b7fe" providerId="ADAL" clId="{9A68D976-6B27-41CF-A773-96FB881042A0}" dt="2021-03-24T18:20:00.882" v="76" actId="1036"/>
          <ac:spMkLst>
            <pc:docMk/>
            <pc:sldMk cId="3026962512" sldId="2566"/>
            <ac:spMk id="360" creationId="{87854372-957F-44C9-A9D2-E75C627DE531}"/>
          </ac:spMkLst>
        </pc:spChg>
        <pc:spChg chg="mod">
          <ac:chgData name="Müller, Kurt (SI BP S&amp;C CS&amp;TR TR)" userId="e7e82c7e-80c6-42a5-ab71-24588885b7fe" providerId="ADAL" clId="{9A68D976-6B27-41CF-A773-96FB881042A0}" dt="2021-03-24T18:20:00.882" v="76" actId="1036"/>
          <ac:spMkLst>
            <pc:docMk/>
            <pc:sldMk cId="3026962512" sldId="2566"/>
            <ac:spMk id="361" creationId="{ACA15871-8094-48D7-BD73-B76D6322DC3E}"/>
          </ac:spMkLst>
        </pc:spChg>
        <pc:spChg chg="mod">
          <ac:chgData name="Müller, Kurt (SI BP S&amp;C CS&amp;TR TR)" userId="e7e82c7e-80c6-42a5-ab71-24588885b7fe" providerId="ADAL" clId="{9A68D976-6B27-41CF-A773-96FB881042A0}" dt="2021-03-24T18:20:00.882" v="76" actId="1036"/>
          <ac:spMkLst>
            <pc:docMk/>
            <pc:sldMk cId="3026962512" sldId="2566"/>
            <ac:spMk id="362" creationId="{F7D3F97B-3DA1-454B-B668-C437451E91C0}"/>
          </ac:spMkLst>
        </pc:spChg>
        <pc:spChg chg="mod">
          <ac:chgData name="Müller, Kurt (SI BP S&amp;C CS&amp;TR TR)" userId="e7e82c7e-80c6-42a5-ab71-24588885b7fe" providerId="ADAL" clId="{9A68D976-6B27-41CF-A773-96FB881042A0}" dt="2021-03-24T18:20:00.882" v="76" actId="1036"/>
          <ac:spMkLst>
            <pc:docMk/>
            <pc:sldMk cId="3026962512" sldId="2566"/>
            <ac:spMk id="363" creationId="{A2943DF6-68E7-4213-BB0A-87889F7C65A3}"/>
          </ac:spMkLst>
        </pc:spChg>
        <pc:spChg chg="mod">
          <ac:chgData name="Müller, Kurt (SI BP S&amp;C CS&amp;TR TR)" userId="e7e82c7e-80c6-42a5-ab71-24588885b7fe" providerId="ADAL" clId="{9A68D976-6B27-41CF-A773-96FB881042A0}" dt="2021-03-24T18:20:00.882" v="76" actId="1036"/>
          <ac:spMkLst>
            <pc:docMk/>
            <pc:sldMk cId="3026962512" sldId="2566"/>
            <ac:spMk id="364" creationId="{B69D6E90-FBE9-4C42-B25B-653402904B48}"/>
          </ac:spMkLst>
        </pc:spChg>
        <pc:spChg chg="mod">
          <ac:chgData name="Müller, Kurt (SI BP S&amp;C CS&amp;TR TR)" userId="e7e82c7e-80c6-42a5-ab71-24588885b7fe" providerId="ADAL" clId="{9A68D976-6B27-41CF-A773-96FB881042A0}" dt="2021-03-24T18:20:00.882" v="76" actId="1036"/>
          <ac:spMkLst>
            <pc:docMk/>
            <pc:sldMk cId="3026962512" sldId="2566"/>
            <ac:spMk id="365" creationId="{B04950B5-EF81-46F6-BCF6-750E192EA591}"/>
          </ac:spMkLst>
        </pc:spChg>
        <pc:spChg chg="mod">
          <ac:chgData name="Müller, Kurt (SI BP S&amp;C CS&amp;TR TR)" userId="e7e82c7e-80c6-42a5-ab71-24588885b7fe" providerId="ADAL" clId="{9A68D976-6B27-41CF-A773-96FB881042A0}" dt="2021-03-24T18:20:00.882" v="76" actId="1036"/>
          <ac:spMkLst>
            <pc:docMk/>
            <pc:sldMk cId="3026962512" sldId="2566"/>
            <ac:spMk id="366" creationId="{7A795898-1660-4C3D-B98D-9B4CE8FBBF68}"/>
          </ac:spMkLst>
        </pc:spChg>
        <pc:spChg chg="mod">
          <ac:chgData name="Müller, Kurt (SI BP S&amp;C CS&amp;TR TR)" userId="e7e82c7e-80c6-42a5-ab71-24588885b7fe" providerId="ADAL" clId="{9A68D976-6B27-41CF-A773-96FB881042A0}" dt="2021-03-24T18:20:00.882" v="76" actId="1036"/>
          <ac:spMkLst>
            <pc:docMk/>
            <pc:sldMk cId="3026962512" sldId="2566"/>
            <ac:spMk id="367" creationId="{A5D12CFF-B44D-411E-A534-CAB45BB2525A}"/>
          </ac:spMkLst>
        </pc:spChg>
        <pc:spChg chg="mod">
          <ac:chgData name="Müller, Kurt (SI BP S&amp;C CS&amp;TR TR)" userId="e7e82c7e-80c6-42a5-ab71-24588885b7fe" providerId="ADAL" clId="{9A68D976-6B27-41CF-A773-96FB881042A0}" dt="2021-03-24T18:20:00.882" v="76" actId="1036"/>
          <ac:spMkLst>
            <pc:docMk/>
            <pc:sldMk cId="3026962512" sldId="2566"/>
            <ac:spMk id="368" creationId="{F1829F94-AA22-432A-8A1D-8366BC042BB9}"/>
          </ac:spMkLst>
        </pc:spChg>
        <pc:grpChg chg="mod">
          <ac:chgData name="Müller, Kurt (SI BP S&amp;C CS&amp;TR TR)" userId="e7e82c7e-80c6-42a5-ab71-24588885b7fe" providerId="ADAL" clId="{9A68D976-6B27-41CF-A773-96FB881042A0}" dt="2021-03-24T18:20:00.882" v="76" actId="1036"/>
          <ac:grpSpMkLst>
            <pc:docMk/>
            <pc:sldMk cId="3026962512" sldId="2566"/>
            <ac:grpSpMk id="309" creationId="{8EFE7874-D127-4682-A3E8-286A78D67C43}"/>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10" creationId="{0493FAEA-331C-4CEA-BD37-38EB1915B7D6}"/>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12" creationId="{721DE9B5-9B11-4609-99BC-0E73D80A5734}"/>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29" creationId="{F06DA6F1-0CC6-43CA-A643-4C408E3AB3F2}"/>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30" creationId="{0F61AFE8-4951-481A-9EA1-47972153D0D8}"/>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32" creationId="{A41E2253-247E-481B-BF39-E1B078160B08}"/>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49" creationId="{ABFFAEB1-16FF-4C66-8DF3-7CF4E8781778}"/>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50" creationId="{0428C487-F3CD-45ED-8E1D-4C54FD97F43E}"/>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52" creationId="{20FE736D-B577-4169-95D1-74EFBD062FB0}"/>
          </ac:grpSpMkLst>
        </pc:grpChg>
        <pc:picChg chg="del">
          <ac:chgData name="Müller, Kurt (SI BP S&amp;C CS&amp;TR TR)" userId="e7e82c7e-80c6-42a5-ab71-24588885b7fe" providerId="ADAL" clId="{9A68D976-6B27-41CF-A773-96FB881042A0}" dt="2021-03-24T18:55:19.906" v="131" actId="478"/>
          <ac:picMkLst>
            <pc:docMk/>
            <pc:sldMk cId="3026962512" sldId="2566"/>
            <ac:picMk id="5" creationId="{2512C25A-7DC9-47B1-A3AC-BAB3B9B50C79}"/>
          </ac:picMkLst>
        </pc:picChg>
      </pc:sldChg>
      <pc:sldChg chg="addSp delSp modSp add mod">
        <pc:chgData name="Müller, Kurt (SI BP S&amp;C CS&amp;TR TR)" userId="e7e82c7e-80c6-42a5-ab71-24588885b7fe" providerId="ADAL" clId="{9A68D976-6B27-41CF-A773-96FB881042A0}" dt="2021-03-24T18:11:04.764" v="31" actId="14100"/>
        <pc:sldMkLst>
          <pc:docMk/>
          <pc:sldMk cId="2815062650" sldId="2567"/>
        </pc:sldMkLst>
        <pc:spChg chg="mod">
          <ac:chgData name="Müller, Kurt (SI BP S&amp;C CS&amp;TR TR)" userId="e7e82c7e-80c6-42a5-ab71-24588885b7fe" providerId="ADAL" clId="{9A68D976-6B27-41CF-A773-96FB881042A0}" dt="2021-03-24T18:10:48.332" v="27" actId="206"/>
          <ac:spMkLst>
            <pc:docMk/>
            <pc:sldMk cId="2815062650" sldId="2567"/>
            <ac:spMk id="13" creationId="{773F83D3-48C6-4195-90D4-A98271A5B5BA}"/>
          </ac:spMkLst>
        </pc:spChg>
        <pc:spChg chg="mod">
          <ac:chgData name="Müller, Kurt (SI BP S&amp;C CS&amp;TR TR)" userId="e7e82c7e-80c6-42a5-ab71-24588885b7fe" providerId="ADAL" clId="{9A68D976-6B27-41CF-A773-96FB881042A0}" dt="2021-03-24T18:10:35.119" v="24" actId="14100"/>
          <ac:spMkLst>
            <pc:docMk/>
            <pc:sldMk cId="2815062650" sldId="2567"/>
            <ac:spMk id="22" creationId="{F7B75921-170C-44AB-ABF0-CE8BA51F492F}"/>
          </ac:spMkLst>
        </pc:spChg>
        <pc:spChg chg="del">
          <ac:chgData name="Müller, Kurt (SI BP S&amp;C CS&amp;TR TR)" userId="e7e82c7e-80c6-42a5-ab71-24588885b7fe" providerId="ADAL" clId="{9A68D976-6B27-41CF-A773-96FB881042A0}" dt="2021-03-24T18:08:58.328" v="13" actId="478"/>
          <ac:spMkLst>
            <pc:docMk/>
            <pc:sldMk cId="2815062650" sldId="2567"/>
            <ac:spMk id="149" creationId="{8D61014E-D985-48CC-8B68-C228B50F1EA6}"/>
          </ac:spMkLst>
        </pc:spChg>
        <pc:spChg chg="del">
          <ac:chgData name="Müller, Kurt (SI BP S&amp;C CS&amp;TR TR)" userId="e7e82c7e-80c6-42a5-ab71-24588885b7fe" providerId="ADAL" clId="{9A68D976-6B27-41CF-A773-96FB881042A0}" dt="2021-03-24T18:08:58.328" v="13" actId="478"/>
          <ac:spMkLst>
            <pc:docMk/>
            <pc:sldMk cId="2815062650" sldId="2567"/>
            <ac:spMk id="150" creationId="{BF1F70F8-3350-49E8-9358-4595A22D8B24}"/>
          </ac:spMkLst>
        </pc:spChg>
        <pc:spChg chg="del">
          <ac:chgData name="Müller, Kurt (SI BP S&amp;C CS&amp;TR TR)" userId="e7e82c7e-80c6-42a5-ab71-24588885b7fe" providerId="ADAL" clId="{9A68D976-6B27-41CF-A773-96FB881042A0}" dt="2021-03-24T18:08:58.328" v="13" actId="478"/>
          <ac:spMkLst>
            <pc:docMk/>
            <pc:sldMk cId="2815062650" sldId="2567"/>
            <ac:spMk id="151" creationId="{06676118-D1FA-48AA-99C3-ACA1750B005D}"/>
          </ac:spMkLst>
        </pc:spChg>
        <pc:spChg chg="del">
          <ac:chgData name="Müller, Kurt (SI BP S&amp;C CS&amp;TR TR)" userId="e7e82c7e-80c6-42a5-ab71-24588885b7fe" providerId="ADAL" clId="{9A68D976-6B27-41CF-A773-96FB881042A0}" dt="2021-03-24T18:08:58.328" v="13" actId="478"/>
          <ac:spMkLst>
            <pc:docMk/>
            <pc:sldMk cId="2815062650" sldId="2567"/>
            <ac:spMk id="161" creationId="{8B7A1944-C053-4BE5-87C9-A20F14DFB781}"/>
          </ac:spMkLst>
        </pc:spChg>
        <pc:spChg chg="mod">
          <ac:chgData name="Müller, Kurt (SI BP S&amp;C CS&amp;TR TR)" userId="e7e82c7e-80c6-42a5-ab71-24588885b7fe" providerId="ADAL" clId="{9A68D976-6B27-41CF-A773-96FB881042A0}" dt="2021-03-24T18:09:07.349" v="16" actId="6549"/>
          <ac:spMkLst>
            <pc:docMk/>
            <pc:sldMk cId="2815062650" sldId="2567"/>
            <ac:spMk id="228" creationId="{0D7025C6-8DB3-4316-9428-FA465B3B3196}"/>
          </ac:spMkLst>
        </pc:spChg>
        <pc:spChg chg="mod">
          <ac:chgData name="Müller, Kurt (SI BP S&amp;C CS&amp;TR TR)" userId="e7e82c7e-80c6-42a5-ab71-24588885b7fe" providerId="ADAL" clId="{9A68D976-6B27-41CF-A773-96FB881042A0}" dt="2021-03-24T18:09:09.663" v="17" actId="6549"/>
          <ac:spMkLst>
            <pc:docMk/>
            <pc:sldMk cId="2815062650" sldId="2567"/>
            <ac:spMk id="268" creationId="{62A5C837-6992-4886-A8DB-DED58DDE97C8}"/>
          </ac:spMkLst>
        </pc:spChg>
        <pc:spChg chg="mod">
          <ac:chgData name="Müller, Kurt (SI BP S&amp;C CS&amp;TR TR)" userId="e7e82c7e-80c6-42a5-ab71-24588885b7fe" providerId="ADAL" clId="{9A68D976-6B27-41CF-A773-96FB881042A0}" dt="2021-03-24T18:09:02.045" v="14" actId="6549"/>
          <ac:spMkLst>
            <pc:docMk/>
            <pc:sldMk cId="2815062650" sldId="2567"/>
            <ac:spMk id="279" creationId="{C8093FC4-FA6C-4062-8195-0E6F2937CD36}"/>
          </ac:spMkLst>
        </pc:spChg>
        <pc:spChg chg="mod">
          <ac:chgData name="Müller, Kurt (SI BP S&amp;C CS&amp;TR TR)" userId="e7e82c7e-80c6-42a5-ab71-24588885b7fe" providerId="ADAL" clId="{9A68D976-6B27-41CF-A773-96FB881042A0}" dt="2021-03-24T18:09:04.394" v="15" actId="6549"/>
          <ac:spMkLst>
            <pc:docMk/>
            <pc:sldMk cId="2815062650" sldId="2567"/>
            <ac:spMk id="294" creationId="{A324D758-C2E6-4433-86E4-988B98697DFC}"/>
          </ac:spMkLst>
        </pc:spChg>
        <pc:cxnChg chg="del">
          <ac:chgData name="Müller, Kurt (SI BP S&amp;C CS&amp;TR TR)" userId="e7e82c7e-80c6-42a5-ab71-24588885b7fe" providerId="ADAL" clId="{9A68D976-6B27-41CF-A773-96FB881042A0}" dt="2021-03-24T18:09:26.950" v="18" actId="478"/>
          <ac:cxnSpMkLst>
            <pc:docMk/>
            <pc:sldMk cId="2815062650" sldId="2567"/>
            <ac:cxnSpMk id="8" creationId="{54F11B22-202E-46EF-A42B-156978C3AA06}"/>
          </ac:cxnSpMkLst>
        </pc:cxnChg>
        <pc:cxnChg chg="add mod">
          <ac:chgData name="Müller, Kurt (SI BP S&amp;C CS&amp;TR TR)" userId="e7e82c7e-80c6-42a5-ab71-24588885b7fe" providerId="ADAL" clId="{9A68D976-6B27-41CF-A773-96FB881042A0}" dt="2021-03-24T18:10:55.556" v="28" actId="1076"/>
          <ac:cxnSpMkLst>
            <pc:docMk/>
            <pc:sldMk cId="2815062650" sldId="2567"/>
            <ac:cxnSpMk id="176" creationId="{4A2639E8-6D40-4182-92AF-8E0E516BB93F}"/>
          </ac:cxnSpMkLst>
        </pc:cxnChg>
        <pc:cxnChg chg="mod">
          <ac:chgData name="Müller, Kurt (SI BP S&amp;C CS&amp;TR TR)" userId="e7e82c7e-80c6-42a5-ab71-24588885b7fe" providerId="ADAL" clId="{9A68D976-6B27-41CF-A773-96FB881042A0}" dt="2021-03-24T18:11:04.764" v="31" actId="14100"/>
          <ac:cxnSpMkLst>
            <pc:docMk/>
            <pc:sldMk cId="2815062650" sldId="2567"/>
            <ac:cxnSpMk id="242" creationId="{BF4DE134-DA1D-474D-A099-668BF6A40D5F}"/>
          </ac:cxnSpMkLst>
        </pc:cxnChg>
        <pc:cxnChg chg="mod">
          <ac:chgData name="Müller, Kurt (SI BP S&amp;C CS&amp;TR TR)" userId="e7e82c7e-80c6-42a5-ab71-24588885b7fe" providerId="ADAL" clId="{9A68D976-6B27-41CF-A773-96FB881042A0}" dt="2021-03-24T18:10:58.820" v="29" actId="14100"/>
          <ac:cxnSpMkLst>
            <pc:docMk/>
            <pc:sldMk cId="2815062650" sldId="2567"/>
            <ac:cxnSpMk id="257" creationId="{92222AC8-75E5-4563-9299-47B977EE3F6B}"/>
          </ac:cxnSpMkLst>
        </pc:cxnChg>
        <pc:cxnChg chg="mod">
          <ac:chgData name="Müller, Kurt (SI BP S&amp;C CS&amp;TR TR)" userId="e7e82c7e-80c6-42a5-ab71-24588885b7fe" providerId="ADAL" clId="{9A68D976-6B27-41CF-A773-96FB881042A0}" dt="2021-03-24T18:11:01.805" v="30" actId="14100"/>
          <ac:cxnSpMkLst>
            <pc:docMk/>
            <pc:sldMk cId="2815062650" sldId="2567"/>
            <ac:cxnSpMk id="293" creationId="{B66D1D97-7255-44BD-AC77-E20217794143}"/>
          </ac:cxnSpMkLst>
        </pc:cxnChg>
      </pc:sldChg>
      <pc:sldChg chg="addSp delSp modSp add mod modAnim">
        <pc:chgData name="Müller, Kurt (SI BP S&amp;C CS&amp;TR TR)" userId="e7e82c7e-80c6-42a5-ab71-24588885b7fe" providerId="ADAL" clId="{9A68D976-6B27-41CF-A773-96FB881042A0}" dt="2021-03-24T18:58:06.463" v="259" actId="14734"/>
        <pc:sldMkLst>
          <pc:docMk/>
          <pc:sldMk cId="1162615204" sldId="2568"/>
        </pc:sldMkLst>
        <pc:spChg chg="add mod">
          <ac:chgData name="Müller, Kurt (SI BP S&amp;C CS&amp;TR TR)" userId="e7e82c7e-80c6-42a5-ab71-24588885b7fe" providerId="ADAL" clId="{9A68D976-6B27-41CF-A773-96FB881042A0}" dt="2021-03-24T18:55:59.646" v="159" actId="1076"/>
          <ac:spMkLst>
            <pc:docMk/>
            <pc:sldMk cId="1162615204" sldId="2568"/>
            <ac:spMk id="2" creationId="{EF4B4D07-836E-4BA9-A34D-C48B253D0D06}"/>
          </ac:spMkLst>
        </pc:spChg>
        <pc:spChg chg="del">
          <ac:chgData name="Müller, Kurt (SI BP S&amp;C CS&amp;TR TR)" userId="e7e82c7e-80c6-42a5-ab71-24588885b7fe" providerId="ADAL" clId="{9A68D976-6B27-41CF-A773-96FB881042A0}" dt="2021-03-24T18:55:11.370" v="128" actId="478"/>
          <ac:spMkLst>
            <pc:docMk/>
            <pc:sldMk cId="1162615204" sldId="2568"/>
            <ac:spMk id="7" creationId="{AEFB570C-2B79-477D-92D8-29EF5FEA4B8D}"/>
          </ac:spMkLst>
        </pc:spChg>
        <pc:spChg chg="del">
          <ac:chgData name="Müller, Kurt (SI BP S&amp;C CS&amp;TR TR)" userId="e7e82c7e-80c6-42a5-ab71-24588885b7fe" providerId="ADAL" clId="{9A68D976-6B27-41CF-A773-96FB881042A0}" dt="2021-03-24T18:55:11.370" v="128" actId="478"/>
          <ac:spMkLst>
            <pc:docMk/>
            <pc:sldMk cId="1162615204" sldId="2568"/>
            <ac:spMk id="8" creationId="{89154655-216A-478F-8D48-BE5C48C25747}"/>
          </ac:spMkLst>
        </pc:spChg>
        <pc:spChg chg="del">
          <ac:chgData name="Müller, Kurt (SI BP S&amp;C CS&amp;TR TR)" userId="e7e82c7e-80c6-42a5-ab71-24588885b7fe" providerId="ADAL" clId="{9A68D976-6B27-41CF-A773-96FB881042A0}" dt="2021-03-24T18:55:11.370" v="128" actId="478"/>
          <ac:spMkLst>
            <pc:docMk/>
            <pc:sldMk cId="1162615204" sldId="2568"/>
            <ac:spMk id="17" creationId="{316058D5-16F2-426F-9CFB-629D9F03B513}"/>
          </ac:spMkLst>
        </pc:spChg>
        <pc:spChg chg="del">
          <ac:chgData name="Müller, Kurt (SI BP S&amp;C CS&amp;TR TR)" userId="e7e82c7e-80c6-42a5-ab71-24588885b7fe" providerId="ADAL" clId="{9A68D976-6B27-41CF-A773-96FB881042A0}" dt="2021-03-24T18:55:11.370" v="128" actId="478"/>
          <ac:spMkLst>
            <pc:docMk/>
            <pc:sldMk cId="1162615204" sldId="2568"/>
            <ac:spMk id="19" creationId="{1BF96094-1E93-41FB-A19C-756E04F07076}"/>
          </ac:spMkLst>
        </pc:spChg>
        <pc:spChg chg="del">
          <ac:chgData name="Müller, Kurt (SI BP S&amp;C CS&amp;TR TR)" userId="e7e82c7e-80c6-42a5-ab71-24588885b7fe" providerId="ADAL" clId="{9A68D976-6B27-41CF-A773-96FB881042A0}" dt="2021-03-24T18:55:11.370" v="128" actId="478"/>
          <ac:spMkLst>
            <pc:docMk/>
            <pc:sldMk cId="1162615204" sldId="2568"/>
            <ac:spMk id="20" creationId="{B55280FF-36C0-43D8-8C4A-F4B796C8A265}"/>
          </ac:spMkLst>
        </pc:spChg>
        <pc:spChg chg="del">
          <ac:chgData name="Müller, Kurt (SI BP S&amp;C CS&amp;TR TR)" userId="e7e82c7e-80c6-42a5-ab71-24588885b7fe" providerId="ADAL" clId="{9A68D976-6B27-41CF-A773-96FB881042A0}" dt="2021-03-24T18:55:11.370" v="128" actId="478"/>
          <ac:spMkLst>
            <pc:docMk/>
            <pc:sldMk cId="1162615204" sldId="2568"/>
            <ac:spMk id="21" creationId="{83CCA0F2-B07C-4F7C-90CD-1974289B28DD}"/>
          </ac:spMkLst>
        </pc:spChg>
        <pc:spChg chg="del">
          <ac:chgData name="Müller, Kurt (SI BP S&amp;C CS&amp;TR TR)" userId="e7e82c7e-80c6-42a5-ab71-24588885b7fe" providerId="ADAL" clId="{9A68D976-6B27-41CF-A773-96FB881042A0}" dt="2021-03-24T18:55:11.370" v="128" actId="478"/>
          <ac:spMkLst>
            <pc:docMk/>
            <pc:sldMk cId="1162615204" sldId="2568"/>
            <ac:spMk id="23" creationId="{5B50283A-4EFA-4E2B-A982-B03E5005B09C}"/>
          </ac:spMkLst>
        </pc:spChg>
        <pc:spChg chg="del">
          <ac:chgData name="Müller, Kurt (SI BP S&amp;C CS&amp;TR TR)" userId="e7e82c7e-80c6-42a5-ab71-24588885b7fe" providerId="ADAL" clId="{9A68D976-6B27-41CF-A773-96FB881042A0}" dt="2021-03-24T18:55:11.370" v="128" actId="478"/>
          <ac:spMkLst>
            <pc:docMk/>
            <pc:sldMk cId="1162615204" sldId="2568"/>
            <ac:spMk id="24" creationId="{BCCB8BDB-924A-45FF-8B35-BDA76E9EA881}"/>
          </ac:spMkLst>
        </pc:spChg>
        <pc:spChg chg="mod">
          <ac:chgData name="Müller, Kurt (SI BP S&amp;C CS&amp;TR TR)" userId="e7e82c7e-80c6-42a5-ab71-24588885b7fe" providerId="ADAL" clId="{9A68D976-6B27-41CF-A773-96FB881042A0}" dt="2021-03-24T18:55:04.850" v="127" actId="20577"/>
          <ac:spMkLst>
            <pc:docMk/>
            <pc:sldMk cId="1162615204" sldId="2568"/>
            <ac:spMk id="41" creationId="{ABACFB30-994A-4B20-8B0F-D485865264A8}"/>
          </ac:spMkLst>
        </pc:spChg>
        <pc:spChg chg="del">
          <ac:chgData name="Müller, Kurt (SI BP S&amp;C CS&amp;TR TR)" userId="e7e82c7e-80c6-42a5-ab71-24588885b7fe" providerId="ADAL" clId="{9A68D976-6B27-41CF-A773-96FB881042A0}" dt="2021-03-24T18:55:14.284" v="130" actId="478"/>
          <ac:spMkLst>
            <pc:docMk/>
            <pc:sldMk cId="1162615204" sldId="2568"/>
            <ac:spMk id="46" creationId="{12EE9C2A-7AF3-4376-A34F-F8106C3E30CA}"/>
          </ac:spMkLst>
        </pc:spChg>
        <pc:spChg chg="del">
          <ac:chgData name="Müller, Kurt (SI BP S&amp;C CS&amp;TR TR)" userId="e7e82c7e-80c6-42a5-ab71-24588885b7fe" providerId="ADAL" clId="{9A68D976-6B27-41CF-A773-96FB881042A0}" dt="2021-03-24T18:55:11.370" v="128" actId="478"/>
          <ac:spMkLst>
            <pc:docMk/>
            <pc:sldMk cId="1162615204" sldId="2568"/>
            <ac:spMk id="303" creationId="{9F1995A1-B05B-4D34-8F6C-1CD6483AEC51}"/>
          </ac:spMkLst>
        </pc:spChg>
        <pc:spChg chg="del">
          <ac:chgData name="Müller, Kurt (SI BP S&amp;C CS&amp;TR TR)" userId="e7e82c7e-80c6-42a5-ab71-24588885b7fe" providerId="ADAL" clId="{9A68D976-6B27-41CF-A773-96FB881042A0}" dt="2021-03-24T18:55:11.370" v="128" actId="478"/>
          <ac:spMkLst>
            <pc:docMk/>
            <pc:sldMk cId="1162615204" sldId="2568"/>
            <ac:spMk id="307" creationId="{DDEA60E1-B596-45F3-A4EF-8843A51E3E3A}"/>
          </ac:spMkLst>
        </pc:spChg>
        <pc:spChg chg="del">
          <ac:chgData name="Müller, Kurt (SI BP S&amp;C CS&amp;TR TR)" userId="e7e82c7e-80c6-42a5-ab71-24588885b7fe" providerId="ADAL" clId="{9A68D976-6B27-41CF-A773-96FB881042A0}" dt="2021-03-24T18:55:11.370" v="128" actId="478"/>
          <ac:spMkLst>
            <pc:docMk/>
            <pc:sldMk cId="1162615204" sldId="2568"/>
            <ac:spMk id="308" creationId="{99C30345-0670-411A-9AA1-FB514DE1E9B5}"/>
          </ac:spMkLst>
        </pc:spChg>
        <pc:spChg chg="del">
          <ac:chgData name="Müller, Kurt (SI BP S&amp;C CS&amp;TR TR)" userId="e7e82c7e-80c6-42a5-ab71-24588885b7fe" providerId="ADAL" clId="{9A68D976-6B27-41CF-A773-96FB881042A0}" dt="2021-03-24T18:55:11.370" v="128" actId="478"/>
          <ac:spMkLst>
            <pc:docMk/>
            <pc:sldMk cId="1162615204" sldId="2568"/>
            <ac:spMk id="491" creationId="{D9FD7B1A-722D-4B41-A780-E5B8446CE811}"/>
          </ac:spMkLst>
        </pc:spChg>
        <pc:grpChg chg="del">
          <ac:chgData name="Müller, Kurt (SI BP S&amp;C CS&amp;TR TR)" userId="e7e82c7e-80c6-42a5-ab71-24588885b7fe" providerId="ADAL" clId="{9A68D976-6B27-41CF-A773-96FB881042A0}" dt="2021-03-24T18:55:11.370" v="128" actId="478"/>
          <ac:grpSpMkLst>
            <pc:docMk/>
            <pc:sldMk cId="1162615204" sldId="2568"/>
            <ac:grpSpMk id="4" creationId="{BE2A73F2-F32F-4F31-9FD1-D26D6583A89F}"/>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229" creationId="{495E5A02-8714-4C35-8506-1BE663FFC7CC}"/>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243" creationId="{22CE87DC-6325-4E8A-B3E3-6B66B0899F46}"/>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263" creationId="{5C8A9359-738A-436F-BCE8-EFCA97ADD1B4}"/>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283" creationId="{10236FEB-CB63-418B-A4A5-0A2D7E782D56}"/>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309" creationId="{8EFE7874-D127-4682-A3E8-286A78D67C43}"/>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329" creationId="{F06DA6F1-0CC6-43CA-A643-4C408E3AB3F2}"/>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349" creationId="{ABFFAEB1-16FF-4C66-8DF3-7CF4E8781778}"/>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369" creationId="{CD6B261E-2971-464B-92BF-F9B11894C71A}"/>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389" creationId="{5924F927-EBEE-426A-BB9D-4A8CBAD15AEC}"/>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409" creationId="{00E69017-44A3-4773-9D51-3A07DB6753AB}"/>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429" creationId="{9B7C6D9D-02E0-43F9-8E91-D23512C114A9}"/>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449" creationId="{08BC85F5-5041-4840-801A-FC3B2A1462F1}"/>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469" creationId="{9C85DF34-3CA1-4740-9004-4EF16E7C900C}"/>
          </ac:grpSpMkLst>
        </pc:grpChg>
        <pc:graphicFrameChg chg="add mod modGraphic">
          <ac:chgData name="Müller, Kurt (SI BP S&amp;C CS&amp;TR TR)" userId="e7e82c7e-80c6-42a5-ab71-24588885b7fe" providerId="ADAL" clId="{9A68D976-6B27-41CF-A773-96FB881042A0}" dt="2021-03-24T18:58:06.463" v="259" actId="14734"/>
          <ac:graphicFrameMkLst>
            <pc:docMk/>
            <pc:sldMk cId="1162615204" sldId="2568"/>
            <ac:graphicFrameMk id="3" creationId="{BF320831-E879-4E6A-810B-F485D5F4329F}"/>
          </ac:graphicFrameMkLst>
        </pc:graphicFrameChg>
        <pc:graphicFrameChg chg="del">
          <ac:chgData name="Müller, Kurt (SI BP S&amp;C CS&amp;TR TR)" userId="e7e82c7e-80c6-42a5-ab71-24588885b7fe" providerId="ADAL" clId="{9A68D976-6B27-41CF-A773-96FB881042A0}" dt="2021-03-24T18:55:11.370" v="128" actId="478"/>
          <ac:graphicFrameMkLst>
            <pc:docMk/>
            <pc:sldMk cId="1162615204" sldId="2568"/>
            <ac:graphicFrameMk id="492" creationId="{C2AC56A2-ED59-4B03-BC8F-7FFC860B2B3D}"/>
          </ac:graphicFrameMkLst>
        </pc:graphicFrameChg>
        <pc:picChg chg="del">
          <ac:chgData name="Müller, Kurt (SI BP S&amp;C CS&amp;TR TR)" userId="e7e82c7e-80c6-42a5-ab71-24588885b7fe" providerId="ADAL" clId="{9A68D976-6B27-41CF-A773-96FB881042A0}" dt="2021-03-24T18:55:13.073" v="129" actId="478"/>
          <ac:picMkLst>
            <pc:docMk/>
            <pc:sldMk cId="1162615204" sldId="2568"/>
            <ac:picMk id="5" creationId="{2512C25A-7DC9-47B1-A3AC-BAB3B9B50C79}"/>
          </ac:picMkLst>
        </pc:picChg>
      </pc:sldChg>
    </pc:docChg>
  </pc:docChgLst>
  <pc:docChgLst>
    <pc:chgData name="Potts, Martin (SI BP AUT EA PROD)" userId="S::potts.martin@siemens.com::1c09e04d-566f-43fe-be34-cdef6a9eacfe" providerId="AD" clId="Web-{204991F0-C017-E59F-B86D-7DD97F326E82}"/>
    <pc:docChg chg="modSld">
      <pc:chgData name="Potts, Martin (SI BP AUT EA PROD)" userId="S::potts.martin@siemens.com::1c09e04d-566f-43fe-be34-cdef6a9eacfe" providerId="AD" clId="Web-{204991F0-C017-E59F-B86D-7DD97F326E82}" dt="2021-06-22T11:29:17.668" v="9" actId="14100"/>
      <pc:docMkLst>
        <pc:docMk/>
      </pc:docMkLst>
      <pc:sldChg chg="addSp delSp modSp">
        <pc:chgData name="Potts, Martin (SI BP AUT EA PROD)" userId="S::potts.martin@siemens.com::1c09e04d-566f-43fe-be34-cdef6a9eacfe" providerId="AD" clId="Web-{204991F0-C017-E59F-B86D-7DD97F326E82}" dt="2021-06-22T11:29:17.668" v="9" actId="14100"/>
        <pc:sldMkLst>
          <pc:docMk/>
          <pc:sldMk cId="218520005" sldId="2576"/>
        </pc:sldMkLst>
        <pc:spChg chg="mod">
          <ac:chgData name="Potts, Martin (SI BP AUT EA PROD)" userId="S::potts.martin@siemens.com::1c09e04d-566f-43fe-be34-cdef6a9eacfe" providerId="AD" clId="Web-{204991F0-C017-E59F-B86D-7DD97F326E82}" dt="2021-06-22T11:29:17.668" v="9" actId="14100"/>
          <ac:spMkLst>
            <pc:docMk/>
            <pc:sldMk cId="218520005" sldId="2576"/>
            <ac:spMk id="111" creationId="{0E4EE65A-2F9D-447F-A308-C671BDABB7CE}"/>
          </ac:spMkLst>
        </pc:spChg>
        <pc:spChg chg="add mod">
          <ac:chgData name="Potts, Martin (SI BP AUT EA PROD)" userId="S::potts.martin@siemens.com::1c09e04d-566f-43fe-be34-cdef6a9eacfe" providerId="AD" clId="Web-{204991F0-C017-E59F-B86D-7DD97F326E82}" dt="2021-06-22T11:28:21.134" v="2" actId="1076"/>
          <ac:spMkLst>
            <pc:docMk/>
            <pc:sldMk cId="218520005" sldId="2576"/>
            <ac:spMk id="129" creationId="{EEBFC678-4642-4482-A5E4-15B4F919CC01}"/>
          </ac:spMkLst>
        </pc:spChg>
        <pc:spChg chg="mod">
          <ac:chgData name="Potts, Martin (SI BP AUT EA PROD)" userId="S::potts.martin@siemens.com::1c09e04d-566f-43fe-be34-cdef6a9eacfe" providerId="AD" clId="Web-{204991F0-C017-E59F-B86D-7DD97F326E82}" dt="2021-06-22T11:28:28.197" v="4" actId="1076"/>
          <ac:spMkLst>
            <pc:docMk/>
            <pc:sldMk cId="218520005" sldId="2576"/>
            <ac:spMk id="179" creationId="{9257C674-00E1-4E7D-8410-A171723F0F9D}"/>
          </ac:spMkLst>
        </pc:spChg>
        <pc:grpChg chg="mod">
          <ac:chgData name="Potts, Martin (SI BP AUT EA PROD)" userId="S::potts.martin@siemens.com::1c09e04d-566f-43fe-be34-cdef6a9eacfe" providerId="AD" clId="Web-{204991F0-C017-E59F-B86D-7DD97F326E82}" dt="2021-06-22T11:29:03.089" v="7" actId="14100"/>
          <ac:grpSpMkLst>
            <pc:docMk/>
            <pc:sldMk cId="218520005" sldId="2576"/>
            <ac:grpSpMk id="120" creationId="{7BC5C803-395B-4E9A-A354-6A186F8A4621}"/>
          </ac:grpSpMkLst>
        </pc:grpChg>
        <pc:cxnChg chg="mod">
          <ac:chgData name="Potts, Martin (SI BP AUT EA PROD)" userId="S::potts.martin@siemens.com::1c09e04d-566f-43fe-be34-cdef6a9eacfe" providerId="AD" clId="Web-{204991F0-C017-E59F-B86D-7DD97F326E82}" dt="2021-06-22T11:29:17.668" v="9" actId="14100"/>
          <ac:cxnSpMkLst>
            <pc:docMk/>
            <pc:sldMk cId="218520005" sldId="2576"/>
            <ac:cxnSpMk id="112" creationId="{3B5DB2A6-A4F6-41B5-93D5-D339C358EEFC}"/>
          </ac:cxnSpMkLst>
        </pc:cxnChg>
        <pc:cxnChg chg="mod">
          <ac:chgData name="Potts, Martin (SI BP AUT EA PROD)" userId="S::potts.martin@siemens.com::1c09e04d-566f-43fe-be34-cdef6a9eacfe" providerId="AD" clId="Web-{204991F0-C017-E59F-B86D-7DD97F326E82}" dt="2021-06-22T11:29:17.668" v="9" actId="14100"/>
          <ac:cxnSpMkLst>
            <pc:docMk/>
            <pc:sldMk cId="218520005" sldId="2576"/>
            <ac:cxnSpMk id="115" creationId="{324D32CF-9913-4CC5-A672-D92FEDAA6B7B}"/>
          </ac:cxnSpMkLst>
        </pc:cxnChg>
        <pc:cxnChg chg="add mod">
          <ac:chgData name="Potts, Martin (SI BP AUT EA PROD)" userId="S::potts.martin@siemens.com::1c09e04d-566f-43fe-be34-cdef6a9eacfe" providerId="AD" clId="Web-{204991F0-C017-E59F-B86D-7DD97F326E82}" dt="2021-06-22T11:28:21.228" v="3" actId="1076"/>
          <ac:cxnSpMkLst>
            <pc:docMk/>
            <pc:sldMk cId="218520005" sldId="2576"/>
            <ac:cxnSpMk id="131" creationId="{8D5EEAE2-FF34-41E1-891F-552DFA00C85E}"/>
          </ac:cxnSpMkLst>
        </pc:cxnChg>
        <pc:cxnChg chg="del mod">
          <ac:chgData name="Potts, Martin (SI BP AUT EA PROD)" userId="S::potts.martin@siemens.com::1c09e04d-566f-43fe-be34-cdef6a9eacfe" providerId="AD" clId="Web-{204991F0-C017-E59F-B86D-7DD97F326E82}" dt="2021-06-22T11:28:29.353" v="5"/>
          <ac:cxnSpMkLst>
            <pc:docMk/>
            <pc:sldMk cId="218520005" sldId="2576"/>
            <ac:cxnSpMk id="180" creationId="{33A81750-8257-451E-8B49-4236E678C0D1}"/>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6797675" cy="677481"/>
          </a:xfrm>
          <a:prstGeom prst="rect">
            <a:avLst/>
          </a:prstGeom>
          <a:solidFill>
            <a:srgbClr val="879BAA"/>
          </a:solidFill>
          <a:ln w="9525" algn="ctr">
            <a:noFill/>
            <a:miter lim="800000"/>
            <a:headEnd/>
            <a:tailEnd/>
          </a:ln>
          <a:effectLst/>
        </p:spPr>
        <p:txBody>
          <a:bodyPr wrap="none" lIns="86018" tIns="43009" rIns="86018" bIns="43009" anchor="ctr"/>
          <a:lstStyle/>
          <a:p>
            <a:endParaRPr lang="de-DE"/>
          </a:p>
        </p:txBody>
      </p:sp>
      <p:sp>
        <p:nvSpPr>
          <p:cNvPr id="173058" name="Rectangle 2"/>
          <p:cNvSpPr>
            <a:spLocks noGrp="1" noChangeArrowheads="1"/>
          </p:cNvSpPr>
          <p:nvPr>
            <p:ph type="hdr" sz="quarter"/>
          </p:nvPr>
        </p:nvSpPr>
        <p:spPr bwMode="auto">
          <a:xfrm>
            <a:off x="1" y="1"/>
            <a:ext cx="3111548" cy="535826"/>
          </a:xfrm>
          <a:prstGeom prst="rect">
            <a:avLst/>
          </a:prstGeom>
          <a:noFill/>
          <a:ln w="9525">
            <a:noFill/>
            <a:miter lim="800000"/>
            <a:headEnd/>
            <a:tailEnd/>
          </a:ln>
          <a:effectLst/>
        </p:spPr>
        <p:txBody>
          <a:bodyPr vert="horz" wrap="square" lIns="139741" tIns="139741" rIns="139741" bIns="139741" numCol="1" anchor="t" anchorCtr="0" compatLnSpc="1">
            <a:prstTxWarp prst="textNoShape">
              <a:avLst/>
            </a:prstTxWarp>
          </a:bodyPr>
          <a:lstStyle>
            <a:lvl1pPr defTabSz="887057">
              <a:spcBef>
                <a:spcPct val="0"/>
              </a:spcBef>
              <a:defRPr sz="1100">
                <a:solidFill>
                  <a:schemeClr val="bg1"/>
                </a:solidFill>
                <a:latin typeface="Siemens Sans" pitchFamily="2" charset="0"/>
              </a:defRPr>
            </a:lvl1pPr>
          </a:lstStyle>
          <a:p>
            <a:endParaRPr lang="en-US">
              <a:latin typeface="Arial" pitchFamily="34" charset="0"/>
            </a:endParaRPr>
          </a:p>
        </p:txBody>
      </p:sp>
      <p:sp>
        <p:nvSpPr>
          <p:cNvPr id="173059" name="Rectangle 3"/>
          <p:cNvSpPr>
            <a:spLocks noGrp="1" noChangeArrowheads="1"/>
          </p:cNvSpPr>
          <p:nvPr>
            <p:ph type="dt" sz="quarter" idx="1"/>
          </p:nvPr>
        </p:nvSpPr>
        <p:spPr bwMode="auto">
          <a:xfrm>
            <a:off x="3686129" y="1"/>
            <a:ext cx="3111547" cy="535826"/>
          </a:xfrm>
          <a:prstGeom prst="rect">
            <a:avLst/>
          </a:prstGeom>
          <a:noFill/>
          <a:ln w="9525">
            <a:noFill/>
            <a:miter lim="800000"/>
            <a:headEnd/>
            <a:tailEnd/>
          </a:ln>
          <a:effectLst/>
        </p:spPr>
        <p:txBody>
          <a:bodyPr vert="horz" wrap="square" lIns="139741" tIns="139741" rIns="139741" bIns="139741" numCol="1" anchor="t" anchorCtr="0" compatLnSpc="1">
            <a:prstTxWarp prst="textNoShape">
              <a:avLst/>
            </a:prstTxWarp>
          </a:bodyPr>
          <a:lstStyle>
            <a:lvl1pPr algn="r" defTabSz="887057">
              <a:spcBef>
                <a:spcPct val="0"/>
              </a:spcBef>
              <a:defRPr sz="1100">
                <a:solidFill>
                  <a:schemeClr val="bg1"/>
                </a:solidFill>
                <a:latin typeface="Siemens Sans" pitchFamily="2" charset="0"/>
              </a:defRPr>
            </a:lvl1pPr>
          </a:lstStyle>
          <a:p>
            <a:endParaRPr lang="en-US">
              <a:latin typeface="Arial" pitchFamily="34" charset="0"/>
            </a:endParaRPr>
          </a:p>
        </p:txBody>
      </p:sp>
      <p:sp>
        <p:nvSpPr>
          <p:cNvPr id="173060" name="Rectangle 4"/>
          <p:cNvSpPr>
            <a:spLocks noGrp="1" noChangeArrowheads="1"/>
          </p:cNvSpPr>
          <p:nvPr>
            <p:ph type="ftr" sz="quarter" idx="2"/>
          </p:nvPr>
        </p:nvSpPr>
        <p:spPr bwMode="auto">
          <a:xfrm>
            <a:off x="1" y="9390812"/>
            <a:ext cx="3111548" cy="535826"/>
          </a:xfrm>
          <a:prstGeom prst="rect">
            <a:avLst/>
          </a:prstGeom>
          <a:noFill/>
          <a:ln w="9525">
            <a:noFill/>
            <a:miter lim="800000"/>
            <a:headEnd/>
            <a:tailEnd/>
          </a:ln>
          <a:effectLst/>
        </p:spPr>
        <p:txBody>
          <a:bodyPr vert="horz" wrap="square" lIns="139741" tIns="139741" rIns="139741" bIns="139741" numCol="1" anchor="b" anchorCtr="0" compatLnSpc="1">
            <a:prstTxWarp prst="textNoShape">
              <a:avLst/>
            </a:prstTxWarp>
          </a:bodyPr>
          <a:lstStyle>
            <a:lvl1pPr defTabSz="887057">
              <a:spcBef>
                <a:spcPct val="0"/>
              </a:spcBef>
              <a:defRPr sz="1100">
                <a:solidFill>
                  <a:schemeClr val="tx1"/>
                </a:solidFill>
                <a:latin typeface="Siemens Sans" pitchFamily="2" charset="0"/>
              </a:defRPr>
            </a:lvl1pPr>
          </a:lstStyle>
          <a:p>
            <a:endParaRPr lang="en-US">
              <a:latin typeface="Arial" pitchFamily="34" charset="0"/>
            </a:endParaRPr>
          </a:p>
        </p:txBody>
      </p:sp>
      <p:sp>
        <p:nvSpPr>
          <p:cNvPr id="173061" name="Rectangle 5"/>
          <p:cNvSpPr>
            <a:spLocks noGrp="1" noChangeArrowheads="1"/>
          </p:cNvSpPr>
          <p:nvPr>
            <p:ph type="sldNum" sz="quarter" idx="3"/>
          </p:nvPr>
        </p:nvSpPr>
        <p:spPr bwMode="auto">
          <a:xfrm>
            <a:off x="3686129" y="9390812"/>
            <a:ext cx="3111547" cy="535826"/>
          </a:xfrm>
          <a:prstGeom prst="rect">
            <a:avLst/>
          </a:prstGeom>
          <a:noFill/>
          <a:ln w="9525">
            <a:noFill/>
            <a:miter lim="800000"/>
            <a:headEnd/>
            <a:tailEnd/>
          </a:ln>
          <a:effectLst/>
        </p:spPr>
        <p:txBody>
          <a:bodyPr vert="horz" wrap="square" lIns="139741" tIns="139741" rIns="139741" bIns="139741" numCol="1" anchor="b" anchorCtr="0" compatLnSpc="1">
            <a:prstTxWarp prst="textNoShape">
              <a:avLst/>
            </a:prstTxWarp>
          </a:bodyPr>
          <a:lstStyle>
            <a:lvl1pPr algn="r" defTabSz="887057">
              <a:spcBef>
                <a:spcPct val="0"/>
              </a:spcBef>
              <a:defRPr sz="1100">
                <a:solidFill>
                  <a:schemeClr val="tx1"/>
                </a:solidFill>
                <a:latin typeface="Siemens Sans" pitchFamily="2" charset="0"/>
              </a:defRPr>
            </a:lvl1pPr>
          </a:lstStyle>
          <a:p>
            <a:r>
              <a:rPr lang="de-DE">
                <a:latin typeface="Arial" pitchFamily="34" charset="0"/>
              </a:rPr>
              <a:t>Handzettel </a:t>
            </a:r>
            <a:fld id="{BFC713D8-7968-482B-A79F-9C586FE5053A}" type="slidenum">
              <a:rPr lang="de-DE">
                <a:latin typeface="Arial" pitchFamily="34" charset="0"/>
              </a:rPr>
              <a:pPr/>
              <a:t>‹Nr.›</a:t>
            </a:fld>
            <a:endParaRPr lang="de-DE">
              <a:latin typeface="Arial" pitchFamily="34" charset="0"/>
            </a:endParaRPr>
          </a:p>
        </p:txBody>
      </p:sp>
    </p:spTree>
    <p:extLst>
      <p:ext uri="{BB962C8B-B14F-4D97-AF65-F5344CB8AC3E}">
        <p14:creationId xmlns:p14="http://schemas.microsoft.com/office/powerpoint/2010/main" val="23718505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1"/>
            <a:ext cx="3111548" cy="535826"/>
          </a:xfrm>
          <a:prstGeom prst="rect">
            <a:avLst/>
          </a:prstGeom>
          <a:noFill/>
          <a:ln w="9525">
            <a:noFill/>
            <a:miter lim="800000"/>
            <a:headEnd/>
            <a:tailEnd/>
          </a:ln>
          <a:effectLst/>
        </p:spPr>
        <p:txBody>
          <a:bodyPr vert="horz" wrap="square" lIns="139741" tIns="139741" rIns="139741" bIns="139741" numCol="1" anchor="t" anchorCtr="0" compatLnSpc="1">
            <a:prstTxWarp prst="textNoShape">
              <a:avLst/>
            </a:prstTxWarp>
          </a:bodyPr>
          <a:lstStyle>
            <a:lvl1pPr defTabSz="887057">
              <a:spcBef>
                <a:spcPct val="0"/>
              </a:spcBef>
              <a:defRPr sz="1100">
                <a:solidFill>
                  <a:schemeClr val="tx1"/>
                </a:solidFill>
                <a:latin typeface="Arial" pitchFamily="34" charset="0"/>
              </a:defRPr>
            </a:lvl1pPr>
          </a:lstStyle>
          <a:p>
            <a:endParaRPr lang="en-US"/>
          </a:p>
        </p:txBody>
      </p:sp>
      <p:sp>
        <p:nvSpPr>
          <p:cNvPr id="77827" name="Rectangle 3"/>
          <p:cNvSpPr>
            <a:spLocks noGrp="1" noChangeArrowheads="1"/>
          </p:cNvSpPr>
          <p:nvPr>
            <p:ph type="dt" idx="1"/>
          </p:nvPr>
        </p:nvSpPr>
        <p:spPr bwMode="auto">
          <a:xfrm>
            <a:off x="3686128" y="1"/>
            <a:ext cx="3110027" cy="535826"/>
          </a:xfrm>
          <a:prstGeom prst="rect">
            <a:avLst/>
          </a:prstGeom>
          <a:noFill/>
          <a:ln w="9525">
            <a:noFill/>
            <a:miter lim="800000"/>
            <a:headEnd/>
            <a:tailEnd/>
          </a:ln>
          <a:effectLst/>
        </p:spPr>
        <p:txBody>
          <a:bodyPr vert="horz" wrap="square" lIns="139741" tIns="139741" rIns="139741" bIns="139741" numCol="1" anchor="t" anchorCtr="0" compatLnSpc="1">
            <a:prstTxWarp prst="textNoShape">
              <a:avLst/>
            </a:prstTxWarp>
          </a:bodyPr>
          <a:lstStyle>
            <a:lvl1pPr algn="r" defTabSz="887057">
              <a:spcBef>
                <a:spcPct val="0"/>
              </a:spcBef>
              <a:defRPr sz="1100">
                <a:solidFill>
                  <a:schemeClr val="tx1"/>
                </a:solidFill>
                <a:latin typeface="Arial" pitchFamily="34" charset="0"/>
              </a:defRPr>
            </a:lvl1pPr>
          </a:lstStyle>
          <a:p>
            <a:endParaRPr lang="en-US"/>
          </a:p>
        </p:txBody>
      </p:sp>
      <p:sp>
        <p:nvSpPr>
          <p:cNvPr id="77828" name="Rectangle 4"/>
          <p:cNvSpPr>
            <a:spLocks noGrp="1" noRot="1" noChangeAspect="1" noChangeArrowheads="1" noTextEdit="1"/>
          </p:cNvSpPr>
          <p:nvPr>
            <p:ph type="sldImg" idx="2"/>
          </p:nvPr>
        </p:nvSpPr>
        <p:spPr bwMode="auto">
          <a:xfrm>
            <a:off x="92075" y="746125"/>
            <a:ext cx="6615113" cy="37211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28008" y="4677699"/>
            <a:ext cx="6341659" cy="442826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7830" name="Rectangle 6"/>
          <p:cNvSpPr>
            <a:spLocks noGrp="1" noChangeArrowheads="1"/>
          </p:cNvSpPr>
          <p:nvPr>
            <p:ph type="ftr" sz="quarter" idx="4"/>
          </p:nvPr>
        </p:nvSpPr>
        <p:spPr bwMode="auto">
          <a:xfrm>
            <a:off x="1" y="9390811"/>
            <a:ext cx="3111548" cy="534286"/>
          </a:xfrm>
          <a:prstGeom prst="rect">
            <a:avLst/>
          </a:prstGeom>
          <a:noFill/>
          <a:ln w="9525">
            <a:noFill/>
            <a:miter lim="800000"/>
            <a:headEnd/>
            <a:tailEnd/>
          </a:ln>
          <a:effectLst/>
        </p:spPr>
        <p:txBody>
          <a:bodyPr vert="horz" wrap="square" lIns="139741" tIns="139741" rIns="139741" bIns="139741" numCol="1" anchor="b" anchorCtr="0" compatLnSpc="1">
            <a:prstTxWarp prst="textNoShape">
              <a:avLst/>
            </a:prstTxWarp>
          </a:bodyPr>
          <a:lstStyle>
            <a:lvl1pPr defTabSz="887057">
              <a:spcBef>
                <a:spcPct val="0"/>
              </a:spcBef>
              <a:defRPr sz="1100">
                <a:solidFill>
                  <a:schemeClr val="tx1"/>
                </a:solidFill>
                <a:latin typeface="Arial" pitchFamily="34" charset="0"/>
              </a:defRPr>
            </a:lvl1pPr>
          </a:lstStyle>
          <a:p>
            <a:endParaRPr lang="en-US"/>
          </a:p>
        </p:txBody>
      </p:sp>
      <p:sp>
        <p:nvSpPr>
          <p:cNvPr id="77831" name="Rectangle 7"/>
          <p:cNvSpPr>
            <a:spLocks noGrp="1" noChangeArrowheads="1"/>
          </p:cNvSpPr>
          <p:nvPr>
            <p:ph type="sldNum" sz="quarter" idx="5"/>
          </p:nvPr>
        </p:nvSpPr>
        <p:spPr bwMode="auto">
          <a:xfrm>
            <a:off x="3686128" y="9390811"/>
            <a:ext cx="3110027" cy="534286"/>
          </a:xfrm>
          <a:prstGeom prst="rect">
            <a:avLst/>
          </a:prstGeom>
          <a:noFill/>
          <a:ln w="9525">
            <a:noFill/>
            <a:miter lim="800000"/>
            <a:headEnd/>
            <a:tailEnd/>
          </a:ln>
          <a:effectLst/>
        </p:spPr>
        <p:txBody>
          <a:bodyPr vert="horz" wrap="square" lIns="139741" tIns="139741" rIns="139741" bIns="139741" numCol="1" anchor="b" anchorCtr="0" compatLnSpc="1">
            <a:prstTxWarp prst="textNoShape">
              <a:avLst/>
            </a:prstTxWarp>
          </a:bodyPr>
          <a:lstStyle>
            <a:lvl1pPr algn="r" defTabSz="887057">
              <a:spcBef>
                <a:spcPct val="0"/>
              </a:spcBef>
              <a:defRPr sz="1100">
                <a:solidFill>
                  <a:schemeClr val="tx1"/>
                </a:solidFill>
                <a:latin typeface="Siemens Sans" pitchFamily="2" charset="0"/>
              </a:defRPr>
            </a:lvl1pPr>
          </a:lstStyle>
          <a:p>
            <a:r>
              <a:rPr lang="de-DE">
                <a:latin typeface="Arial" pitchFamily="34" charset="0"/>
              </a:rPr>
              <a:t>Notizen </a:t>
            </a:r>
            <a:fld id="{AD141568-5488-4AC9-B82D-9F5CE1225E2A}" type="slidenum">
              <a:rPr lang="de-DE" smtClean="0">
                <a:latin typeface="Arial" pitchFamily="34" charset="0"/>
              </a:rPr>
              <a:pPr/>
              <a:t>‹Nr.›</a:t>
            </a:fld>
            <a:endParaRPr lang="de-DE">
              <a:latin typeface="Arial" pitchFamily="34" charset="0"/>
            </a:endParaRPr>
          </a:p>
        </p:txBody>
      </p:sp>
    </p:spTree>
    <p:extLst>
      <p:ext uri="{BB962C8B-B14F-4D97-AF65-F5344CB8AC3E}">
        <p14:creationId xmlns:p14="http://schemas.microsoft.com/office/powerpoint/2010/main" val="383421924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400">
              <a:solidFill>
                <a:schemeClr val="tx1"/>
              </a:solidFill>
              <a:latin typeface="Arial" pitchFamily="34" charset="0"/>
              <a:ea typeface="ＭＳ Ｐゴシック" charset="-128"/>
              <a:cs typeface="+mn-cs"/>
            </a:endParaRPr>
          </a:p>
        </p:txBody>
      </p:sp>
      <p:sp>
        <p:nvSpPr>
          <p:cNvPr id="4" name="Slide Number Placeholder 3"/>
          <p:cNvSpPr>
            <a:spLocks noGrp="1"/>
          </p:cNvSpPr>
          <p:nvPr>
            <p:ph type="sldNum" sz="quarter" idx="5"/>
          </p:nvPr>
        </p:nvSpPr>
        <p:spPr/>
        <p:txBody>
          <a:bodyPr/>
          <a:lstStyle/>
          <a:p>
            <a:r>
              <a:rPr lang="de-DE">
                <a:latin typeface="Arial" pitchFamily="34" charset="0"/>
              </a:rPr>
              <a:t>Notizen </a:t>
            </a:r>
            <a:fld id="{AD141568-5488-4AC9-B82D-9F5CE1225E2A}" type="slidenum">
              <a:rPr lang="de-DE" smtClean="0">
                <a:latin typeface="Arial" pitchFamily="34" charset="0"/>
              </a:rPr>
              <a:pPr/>
              <a:t>1</a:t>
            </a:fld>
            <a:endParaRPr lang="de-DE">
              <a:latin typeface="Arial" pitchFamily="34" charset="0"/>
            </a:endParaRPr>
          </a:p>
        </p:txBody>
      </p:sp>
    </p:spTree>
    <p:extLst>
      <p:ext uri="{BB962C8B-B14F-4D97-AF65-F5344CB8AC3E}">
        <p14:creationId xmlns:p14="http://schemas.microsoft.com/office/powerpoint/2010/main" val="14758488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Folienbildplatzhalter 1">
            <a:extLst>
              <a:ext uri="{FF2B5EF4-FFF2-40B4-BE49-F238E27FC236}">
                <a16:creationId xmlns:a16="http://schemas.microsoft.com/office/drawing/2014/main" id="{EBA7B4F8-7D4A-4859-8449-C9370BD0981F}"/>
              </a:ext>
            </a:extLst>
          </p:cNvPr>
          <p:cNvSpPr>
            <a:spLocks noGrp="1" noRot="1" noChangeAspect="1" noTextEdit="1"/>
          </p:cNvSpPr>
          <p:nvPr>
            <p:ph type="sldImg"/>
          </p:nvPr>
        </p:nvSpPr>
        <p:spPr>
          <a:ln/>
        </p:spPr>
      </p:sp>
      <p:sp>
        <p:nvSpPr>
          <p:cNvPr id="22531" name="Notizenplatzhalter 2">
            <a:extLst>
              <a:ext uri="{FF2B5EF4-FFF2-40B4-BE49-F238E27FC236}">
                <a16:creationId xmlns:a16="http://schemas.microsoft.com/office/drawing/2014/main" id="{51DD47B0-7FC7-4EC6-BF89-61A434A5522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CH" altLang="de-DE"/>
              <a:t>F </a:t>
            </a:r>
            <a:endParaRPr lang="de-DE" altLang="de-DE"/>
          </a:p>
        </p:txBody>
      </p:sp>
      <p:sp>
        <p:nvSpPr>
          <p:cNvPr id="22532" name="Foliennummernplatzhalter 3">
            <a:extLst>
              <a:ext uri="{FF2B5EF4-FFF2-40B4-BE49-F238E27FC236}">
                <a16:creationId xmlns:a16="http://schemas.microsoft.com/office/drawing/2014/main" id="{23E519F9-5AE3-44C9-9BD3-A73EDFA7A8E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fld id="{42493CA6-99A4-4605-90AD-44A4A5AF9961}" type="slidenum">
              <a:rPr lang="de-DE" altLang="de-DE" sz="1200">
                <a:latin typeface="Siemens Sans" pitchFamily="2" charset="0"/>
              </a:rPr>
              <a:pPr eaLnBrk="1" hangingPunct="1"/>
              <a:t>4</a:t>
            </a:fld>
            <a:endParaRPr lang="de-DE" altLang="de-DE" sz="1200">
              <a:latin typeface="Siemens Sans" pitchFamily="2" charset="0"/>
            </a:endParaRPr>
          </a:p>
        </p:txBody>
      </p:sp>
    </p:spTree>
    <p:extLst>
      <p:ext uri="{BB962C8B-B14F-4D97-AF65-F5344CB8AC3E}">
        <p14:creationId xmlns:p14="http://schemas.microsoft.com/office/powerpoint/2010/main" val="4164380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de-DE">
                <a:latin typeface="Arial" pitchFamily="34" charset="0"/>
              </a:rPr>
              <a:t>Notizen </a:t>
            </a:r>
            <a:fld id="{AD141568-5488-4AC9-B82D-9F5CE1225E2A}" type="slidenum">
              <a:rPr lang="de-DE" smtClean="0">
                <a:latin typeface="Arial" pitchFamily="34" charset="0"/>
              </a:rPr>
              <a:pPr/>
              <a:t>5</a:t>
            </a:fld>
            <a:endParaRPr lang="de-DE">
              <a:latin typeface="Arial" pitchFamily="34" charset="0"/>
            </a:endParaRPr>
          </a:p>
        </p:txBody>
      </p:sp>
    </p:spTree>
    <p:extLst>
      <p:ext uri="{BB962C8B-B14F-4D97-AF65-F5344CB8AC3E}">
        <p14:creationId xmlns:p14="http://schemas.microsoft.com/office/powerpoint/2010/main" val="1956984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a:extLst>
              <a:ext uri="{FF2B5EF4-FFF2-40B4-BE49-F238E27FC236}">
                <a16:creationId xmlns:a16="http://schemas.microsoft.com/office/drawing/2014/main" id="{FAFDEC3D-A11C-44B4-BB54-4354129975F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fld id="{FF4F46E1-259D-40A0-B85B-6D5503812C12}" type="slidenum">
              <a:rPr lang="de-DE" altLang="de-DE" sz="1200">
                <a:latin typeface="Siemens Sans" pitchFamily="2" charset="0"/>
              </a:rPr>
              <a:pPr eaLnBrk="1" hangingPunct="1"/>
              <a:t>6</a:t>
            </a:fld>
            <a:endParaRPr lang="de-DE" altLang="de-DE" sz="1200">
              <a:latin typeface="Siemens Sans" pitchFamily="2" charset="0"/>
            </a:endParaRPr>
          </a:p>
        </p:txBody>
      </p:sp>
      <p:sp>
        <p:nvSpPr>
          <p:cNvPr id="21507" name="Rectangle 2">
            <a:extLst>
              <a:ext uri="{FF2B5EF4-FFF2-40B4-BE49-F238E27FC236}">
                <a16:creationId xmlns:a16="http://schemas.microsoft.com/office/drawing/2014/main" id="{1D5CF9D6-D646-4D74-A068-5EFF89A74640}"/>
              </a:ext>
            </a:extLst>
          </p:cNvPr>
          <p:cNvSpPr>
            <a:spLocks noGrp="1" noRot="1" noChangeAspect="1" noChangeArrowheads="1" noTextEdit="1"/>
          </p:cNvSpPr>
          <p:nvPr>
            <p:ph type="sldImg"/>
          </p:nvPr>
        </p:nvSpPr>
        <p:spPr>
          <a:xfrm>
            <a:off x="-95250" y="641350"/>
            <a:ext cx="6961188" cy="3916363"/>
          </a:xfrm>
          <a:ln/>
        </p:spPr>
      </p:sp>
      <p:sp>
        <p:nvSpPr>
          <p:cNvPr id="21508" name="Rectangle 3">
            <a:extLst>
              <a:ext uri="{FF2B5EF4-FFF2-40B4-BE49-F238E27FC236}">
                <a16:creationId xmlns:a16="http://schemas.microsoft.com/office/drawing/2014/main" id="{82337477-AE58-49C0-9D84-0F336FE942E4}"/>
              </a:ext>
            </a:extLst>
          </p:cNvPr>
          <p:cNvSpPr>
            <a:spLocks noGrp="1" noChangeArrowheads="1"/>
          </p:cNvSpPr>
          <p:nvPr>
            <p:ph type="body" idx="1"/>
          </p:nvPr>
        </p:nvSpPr>
        <p:spPr>
          <a:xfrm>
            <a:off x="677863" y="4705350"/>
            <a:ext cx="5413375" cy="44577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p>
        </p:txBody>
      </p:sp>
    </p:spTree>
    <p:extLst>
      <p:ext uri="{BB962C8B-B14F-4D97-AF65-F5344CB8AC3E}">
        <p14:creationId xmlns:p14="http://schemas.microsoft.com/office/powerpoint/2010/main" val="5023212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Folienbildplatzhalter 1">
            <a:extLst>
              <a:ext uri="{FF2B5EF4-FFF2-40B4-BE49-F238E27FC236}">
                <a16:creationId xmlns:a16="http://schemas.microsoft.com/office/drawing/2014/main" id="{5C59B7FE-E5D3-4584-B298-E45475D19EAD}"/>
              </a:ext>
            </a:extLst>
          </p:cNvPr>
          <p:cNvSpPr>
            <a:spLocks noGrp="1" noRot="1" noChangeAspect="1" noTextEdit="1"/>
          </p:cNvSpPr>
          <p:nvPr>
            <p:ph type="sldImg"/>
          </p:nvPr>
        </p:nvSpPr>
        <p:spPr>
          <a:ln/>
        </p:spPr>
      </p:sp>
      <p:sp>
        <p:nvSpPr>
          <p:cNvPr id="26627" name="Notizenplatzhalter 2">
            <a:extLst>
              <a:ext uri="{FF2B5EF4-FFF2-40B4-BE49-F238E27FC236}">
                <a16:creationId xmlns:a16="http://schemas.microsoft.com/office/drawing/2014/main" id="{C7679A77-4D7B-40EB-940A-47157F45EBA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CH" altLang="de-DE"/>
              <a:t>F </a:t>
            </a:r>
            <a:endParaRPr lang="de-DE" altLang="de-DE"/>
          </a:p>
        </p:txBody>
      </p:sp>
      <p:sp>
        <p:nvSpPr>
          <p:cNvPr id="26628" name="Foliennummernplatzhalter 3">
            <a:extLst>
              <a:ext uri="{FF2B5EF4-FFF2-40B4-BE49-F238E27FC236}">
                <a16:creationId xmlns:a16="http://schemas.microsoft.com/office/drawing/2014/main" id="{1A2E9682-6DC1-4877-A5F4-CD0F7E9D1EC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fld id="{A0D6FF1E-13D3-4F1C-9895-EDB08B5A09BE}" type="slidenum">
              <a:rPr lang="de-DE" altLang="de-DE" sz="1200">
                <a:latin typeface="Siemens Sans" pitchFamily="2" charset="0"/>
              </a:rPr>
              <a:pPr eaLnBrk="1" hangingPunct="1"/>
              <a:t>7</a:t>
            </a:fld>
            <a:endParaRPr lang="de-DE" altLang="de-DE" sz="1200">
              <a:latin typeface="Siemens Sans" pitchFamily="2" charset="0"/>
            </a:endParaRPr>
          </a:p>
        </p:txBody>
      </p:sp>
    </p:spTree>
    <p:extLst>
      <p:ext uri="{BB962C8B-B14F-4D97-AF65-F5344CB8AC3E}">
        <p14:creationId xmlns:p14="http://schemas.microsoft.com/office/powerpoint/2010/main" val="31559845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068C470-7290-4F7D-AE34-FF85E39AC41D}"/>
              </a:ext>
            </a:extLst>
          </p:cNvPr>
          <p:cNvCxnSpPr/>
          <p:nvPr userDrawn="1"/>
        </p:nvCxnSpPr>
        <p:spPr bwMode="auto">
          <a:xfrm>
            <a:off x="12195175" y="-1296525"/>
            <a:ext cx="0" cy="945105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1"/>
    </p:custDataLst>
    <p:extLst>
      <p:ext uri="{BB962C8B-B14F-4D97-AF65-F5344CB8AC3E}">
        <p14:creationId xmlns:p14="http://schemas.microsoft.com/office/powerpoint/2010/main" val="33709844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a:t>  </a:t>
            </a:r>
          </a:p>
        </p:txBody>
      </p:sp>
      <p:sp>
        <p:nvSpPr>
          <p:cNvPr id="3" name="cdtContent Placeholder 2 Id3"/>
          <p:cNvSpPr>
            <a:spLocks noGrp="1"/>
          </p:cNvSpPr>
          <p:nvPr>
            <p:ph sz="half" idx="1" hasCustomPrompt="1"/>
            <p:custDataLst>
              <p:tags r:id="rId2"/>
            </p:custDataLst>
          </p:nvPr>
        </p:nvSpPr>
        <p:spPr>
          <a:xfrm>
            <a:off x="2425220" y="1199198"/>
            <a:ext cx="5470688"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126"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34" marR="0" indent="-179946" algn="l" defTabSz="914126" rtl="0" eaLnBrk="1" fontAlgn="base" latinLnBrk="0" hangingPunct="1">
              <a:lnSpc>
                <a:spcPct val="100000"/>
              </a:lnSpc>
              <a:spcBef>
                <a:spcPts val="300"/>
              </a:spcBef>
              <a:spcAft>
                <a:spcPct val="0"/>
              </a:spcAft>
              <a:buClr>
                <a:srgbClr val="879BAA"/>
              </a:buClr>
              <a:buSzTx/>
              <a:buFontTx/>
              <a:buChar char="•"/>
              <a:tabLst/>
              <a:defRPr lang="de-DE" smtClean="0"/>
            </a:lvl2pPr>
            <a:lvl3pPr marL="358667" marR="0" indent="-179946" algn="l" defTabSz="914126" rtl="0" eaLnBrk="1" fontAlgn="base" latinLnBrk="0" hangingPunct="1">
              <a:lnSpc>
                <a:spcPct val="100000"/>
              </a:lnSpc>
              <a:spcBef>
                <a:spcPts val="300"/>
              </a:spcBef>
              <a:spcAft>
                <a:spcPct val="0"/>
              </a:spcAft>
              <a:buClr>
                <a:srgbClr val="879BAA"/>
              </a:buClr>
              <a:buSzTx/>
              <a:buFontTx/>
              <a:buChar char="•"/>
              <a:tabLst/>
              <a:defRPr lang="de-DE" smtClean="0"/>
            </a:lvl3pPr>
            <a:lvl4pPr marL="538002" marR="0" indent="-179946" algn="l" defTabSz="914126" rtl="0" eaLnBrk="1" fontAlgn="base" latinLnBrk="0" hangingPunct="1">
              <a:lnSpc>
                <a:spcPct val="100000"/>
              </a:lnSpc>
              <a:spcBef>
                <a:spcPts val="300"/>
              </a:spcBef>
              <a:spcAft>
                <a:spcPct val="0"/>
              </a:spcAft>
              <a:buClr>
                <a:srgbClr val="879BAA"/>
              </a:buClr>
              <a:buSzTx/>
              <a:buFontTx/>
              <a:buChar char="•"/>
              <a:tabLst/>
              <a:defRPr lang="de-DE" smtClean="0"/>
            </a:lvl4pPr>
            <a:lvl5pPr marL="719784" marR="0" indent="-179946" algn="l" defTabSz="914126" rtl="0" eaLnBrk="1" fontAlgn="base" latinLnBrk="0" hangingPunct="1">
              <a:lnSpc>
                <a:spcPct val="100000"/>
              </a:lnSpc>
              <a:spcBef>
                <a:spcPts val="300"/>
              </a:spcBef>
              <a:spcAft>
                <a:spcPct val="0"/>
              </a:spcAft>
              <a:buClr>
                <a:srgbClr val="879BAA"/>
              </a:buClr>
              <a:buSzTx/>
              <a:buFontTx/>
              <a:buChar char="•"/>
              <a:tabLst/>
              <a:defRPr lang="de-DE"/>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Bildplatzhalter 4"/>
          <p:cNvSpPr>
            <a:spLocks noGrp="1"/>
          </p:cNvSpPr>
          <p:nvPr>
            <p:ph type="pic" sz="quarter" idx="10"/>
          </p:nvPr>
        </p:nvSpPr>
        <p:spPr>
          <a:xfrm>
            <a:off x="6242012" y="1440000"/>
            <a:ext cx="5470576" cy="2304000"/>
          </a:xfrm>
        </p:spPr>
        <p:txBody>
          <a:bodyPr tIns="648000"/>
          <a:lstStyle>
            <a:lvl1pPr algn="ctr">
              <a:defRPr/>
            </a:lvl1pPr>
          </a:lstStyle>
          <a:p>
            <a:r>
              <a:rPr lang="en-US" noProof="0"/>
              <a:t>Click icon to add picture</a:t>
            </a:r>
          </a:p>
        </p:txBody>
      </p:sp>
      <p:sp>
        <p:nvSpPr>
          <p:cNvPr id="6" name="Bildplatzhalter 4"/>
          <p:cNvSpPr>
            <a:spLocks noGrp="1"/>
          </p:cNvSpPr>
          <p:nvPr>
            <p:ph type="pic" sz="quarter" idx="11"/>
          </p:nvPr>
        </p:nvSpPr>
        <p:spPr>
          <a:xfrm>
            <a:off x="6242012" y="3888000"/>
            <a:ext cx="5470576" cy="2304000"/>
          </a:xfrm>
        </p:spPr>
        <p:txBody>
          <a:bodyPr tIns="648000"/>
          <a:lstStyle>
            <a:lvl1pPr algn="ctr">
              <a:defRPr/>
            </a:lvl1pPr>
          </a:lstStyle>
          <a:p>
            <a:r>
              <a:rPr lang="en-US" noProof="0"/>
              <a:t>Click icon to add picture</a:t>
            </a:r>
          </a:p>
        </p:txBody>
      </p:sp>
    </p:spTree>
    <p:custDataLst>
      <p:tags r:id="rId1"/>
    </p:custDataLst>
    <p:extLst>
      <p:ext uri="{BB962C8B-B14F-4D97-AF65-F5344CB8AC3E}">
        <p14:creationId xmlns:p14="http://schemas.microsoft.com/office/powerpoint/2010/main" val="22514975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el, Text und Inhalt">
    <p:spTree>
      <p:nvGrpSpPr>
        <p:cNvPr id="1" name=""/>
        <p:cNvGrpSpPr/>
        <p:nvPr/>
      </p:nvGrpSpPr>
      <p:grpSpPr>
        <a:xfrm>
          <a:off x="0" y="0"/>
          <a:ext cx="0" cy="0"/>
          <a:chOff x="0" y="0"/>
          <a:chExt cx="0" cy="0"/>
        </a:xfrm>
      </p:grpSpPr>
      <p:sp>
        <p:nvSpPr>
          <p:cNvPr id="3" name="Textplatzhalter 2"/>
          <p:cNvSpPr>
            <a:spLocks noGrp="1"/>
          </p:cNvSpPr>
          <p:nvPr>
            <p:ph type="body" sz="half" idx="1"/>
          </p:nvPr>
        </p:nvSpPr>
        <p:spPr>
          <a:xfrm>
            <a:off x="2685163" y="866775"/>
            <a:ext cx="5380340" cy="4681538"/>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8169901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ne object (small)" userDrawn="1">
  <p:cSld name="One object (small)">
    <p:spTree>
      <p:nvGrpSpPr>
        <p:cNvPr id="1" name=""/>
        <p:cNvGrpSpPr/>
        <p:nvPr/>
      </p:nvGrpSpPr>
      <p:grpSpPr>
        <a:xfrm>
          <a:off x="0" y="0"/>
          <a:ext cx="0" cy="0"/>
          <a:chOff x="0" y="0"/>
          <a:chExt cx="0" cy="0"/>
        </a:xfrm>
      </p:grpSpPr>
      <p:sp>
        <p:nvSpPr>
          <p:cNvPr id="3" name="cdtContent Placeholder 2 Id3"/>
          <p:cNvSpPr>
            <a:spLocks noGrp="1"/>
          </p:cNvSpPr>
          <p:nvPr>
            <p:ph idx="1"/>
            <p:custDataLst>
              <p:tags r:id="rId1"/>
            </p:custDataLst>
          </p:nvPr>
        </p:nvSpPr>
        <p:spPr>
          <a:xfrm>
            <a:off x="3415820" y="1229678"/>
            <a:ext cx="6766238" cy="47489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583109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57" name="Cognisphere" descr="A picture containing fireworks, star, table, sky&#10;&#10;Description automatically generated">
            <a:extLst>
              <a:ext uri="{FF2B5EF4-FFF2-40B4-BE49-F238E27FC236}">
                <a16:creationId xmlns:a16="http://schemas.microsoft.com/office/drawing/2014/main" id="{F35B8140-431B-4564-A814-5FE9C50E80E1}"/>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r="37225"/>
          <a:stretch/>
        </p:blipFill>
        <p:spPr>
          <a:xfrm>
            <a:off x="-1571" y="-1"/>
            <a:ext cx="2162645" cy="1133745"/>
          </a:xfrm>
          <a:prstGeom prst="rect">
            <a:avLst/>
          </a:prstGeom>
          <a:gradFill>
            <a:gsLst>
              <a:gs pos="58000">
                <a:srgbClr val="00315F"/>
              </a:gs>
              <a:gs pos="6000">
                <a:srgbClr val="00022B"/>
              </a:gs>
              <a:gs pos="100000">
                <a:srgbClr val="0080B6"/>
              </a:gs>
            </a:gsLst>
            <a:lin ang="0" scaled="0"/>
          </a:gradFill>
          <a:ln>
            <a:noFill/>
          </a:ln>
          <a:effectLst/>
        </p:spPr>
      </p:pic>
      <p:sp>
        <p:nvSpPr>
          <p:cNvPr id="43" name="Rechteck 25">
            <a:extLst>
              <a:ext uri="{FF2B5EF4-FFF2-40B4-BE49-F238E27FC236}">
                <a16:creationId xmlns:a16="http://schemas.microsoft.com/office/drawing/2014/main" id="{938A2358-3D1F-4D7E-9741-6B2D91AE4A67}"/>
              </a:ext>
            </a:extLst>
          </p:cNvPr>
          <p:cNvSpPr/>
          <p:nvPr userDrawn="1"/>
        </p:nvSpPr>
        <p:spPr bwMode="auto">
          <a:xfrm>
            <a:off x="1074" y="466600"/>
            <a:ext cx="2160000" cy="6391400"/>
          </a:xfrm>
          <a:prstGeom prst="rect">
            <a:avLst/>
          </a:prstGeom>
          <a:solidFill>
            <a:srgbClr val="F3F3F0"/>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latin typeface="Siemens Sans" pitchFamily="2" charset="0"/>
            </a:endParaRPr>
          </a:p>
        </p:txBody>
      </p:sp>
      <p:sp>
        <p:nvSpPr>
          <p:cNvPr id="73" name="cdtText Box 4 Id114692">
            <a:extLst>
              <a:ext uri="{FF2B5EF4-FFF2-40B4-BE49-F238E27FC236}">
                <a16:creationId xmlns:a16="http://schemas.microsoft.com/office/drawing/2014/main" id="{B81D0F7B-0E8F-422E-8B58-86A9FF11FB2E}"/>
              </a:ext>
            </a:extLst>
          </p:cNvPr>
          <p:cNvSpPr txBox="1">
            <a:spLocks noChangeArrowheads="1"/>
          </p:cNvSpPr>
          <p:nvPr userDrawn="1"/>
        </p:nvSpPr>
        <p:spPr bwMode="gray">
          <a:xfrm>
            <a:off x="0" y="6390000"/>
            <a:ext cx="2160000" cy="468000"/>
          </a:xfrm>
          <a:prstGeom prst="rect">
            <a:avLst/>
          </a:prstGeom>
          <a:gradFill>
            <a:gsLst>
              <a:gs pos="50000">
                <a:srgbClr val="00315F"/>
              </a:gs>
              <a:gs pos="0">
                <a:srgbClr val="00022B"/>
              </a:gs>
              <a:gs pos="100000">
                <a:srgbClr val="0080B6"/>
              </a:gs>
            </a:gsLst>
            <a:lin ang="1620000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endParaRPr lang="en-US" sz="1600">
              <a:solidFill>
                <a:schemeClr val="bg1"/>
              </a:solidFill>
            </a:endParaRPr>
          </a:p>
        </p:txBody>
      </p:sp>
      <p:sp>
        <p:nvSpPr>
          <p:cNvPr id="65" name="cdtText Box 4 Id114692">
            <a:extLst>
              <a:ext uri="{FF2B5EF4-FFF2-40B4-BE49-F238E27FC236}">
                <a16:creationId xmlns:a16="http://schemas.microsoft.com/office/drawing/2014/main" id="{B07A17E1-3CA9-4CD1-B6E9-09CBC9BB71BA}"/>
              </a:ext>
            </a:extLst>
          </p:cNvPr>
          <p:cNvSpPr txBox="1">
            <a:spLocks noChangeArrowheads="1"/>
          </p:cNvSpPr>
          <p:nvPr userDrawn="1"/>
        </p:nvSpPr>
        <p:spPr bwMode="gray">
          <a:xfrm>
            <a:off x="0" y="0"/>
            <a:ext cx="2160000" cy="468000"/>
          </a:xfrm>
          <a:prstGeom prst="rect">
            <a:avLst/>
          </a:prstGeom>
          <a:gradFill>
            <a:gsLst>
              <a:gs pos="60000">
                <a:srgbClr val="00315F"/>
              </a:gs>
              <a:gs pos="23000">
                <a:srgbClr val="00022B"/>
              </a:gs>
              <a:gs pos="100000">
                <a:srgbClr val="0080B6"/>
              </a:gs>
            </a:gsLst>
            <a:lin ang="540000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endParaRPr lang="en-US" sz="1600">
              <a:solidFill>
                <a:schemeClr val="bg1"/>
              </a:solidFill>
            </a:endParaRPr>
          </a:p>
        </p:txBody>
      </p:sp>
      <p:sp>
        <p:nvSpPr>
          <p:cNvPr id="53" name="Rechteck 27">
            <a:extLst>
              <a:ext uri="{FF2B5EF4-FFF2-40B4-BE49-F238E27FC236}">
                <a16:creationId xmlns:a16="http://schemas.microsoft.com/office/drawing/2014/main" id="{4DBBA44B-0935-4E01-A946-BB7E914F8D55}"/>
              </a:ext>
            </a:extLst>
          </p:cNvPr>
          <p:cNvSpPr/>
          <p:nvPr userDrawn="1"/>
        </p:nvSpPr>
        <p:spPr bwMode="auto">
          <a:xfrm>
            <a:off x="12362" y="48486"/>
            <a:ext cx="2162645" cy="413666"/>
          </a:xfrm>
          <a:prstGeom prst="rect">
            <a:avLst/>
          </a:prstGeom>
          <a:noFill/>
          <a:ln w="3175">
            <a:noFill/>
          </a:ln>
          <a:effectLst/>
        </p:spPr>
        <p:txBody>
          <a:bodyPr wrap="square" lIns="36000" tIns="72000" rIns="108000" bIns="72000" numCol="1" spcCol="72000" rtlCol="0" anchor="t" anchorCtr="0">
            <a:noAutofit/>
          </a:bodyPr>
          <a:lstStyle/>
          <a:p>
            <a:pPr marL="0" marR="0" lvl="0" indent="0" algn="l" defTabSz="914400" rtl="0" eaLnBrk="1" fontAlgn="base" latinLnBrk="0" hangingPunct="1">
              <a:lnSpc>
                <a:spcPts val="1900"/>
              </a:lnSpc>
              <a:spcBef>
                <a:spcPts val="0"/>
              </a:spcBef>
              <a:spcAft>
                <a:spcPts val="0"/>
              </a:spcAft>
              <a:buClrTx/>
              <a:buSzTx/>
              <a:buFontTx/>
              <a:buNone/>
              <a:tabLst/>
              <a:defRPr/>
            </a:pPr>
            <a:r>
              <a:rPr lang="en-US" sz="1200" b="1">
                <a:solidFill>
                  <a:schemeClr val="bg1"/>
                </a:solidFill>
                <a:latin typeface="Siemens Sans" pitchFamily="2" charset="0"/>
              </a:rPr>
              <a:t>Climatix - courseware</a:t>
            </a:r>
            <a:endParaRPr lang="en-US" sz="1200">
              <a:solidFill>
                <a:schemeClr val="bg1"/>
              </a:solidFill>
              <a:latin typeface="Siemens Sans SC Black" pitchFamily="2" charset="0"/>
            </a:endParaRPr>
          </a:p>
        </p:txBody>
      </p:sp>
      <p:sp>
        <p:nvSpPr>
          <p:cNvPr id="64" name="Slide Number Placeholder">
            <a:extLst>
              <a:ext uri="{FF2B5EF4-FFF2-40B4-BE49-F238E27FC236}">
                <a16:creationId xmlns:a16="http://schemas.microsoft.com/office/drawing/2014/main" id="{D2CC280D-9D6F-4BB0-B648-8D4A6051CAF0}"/>
              </a:ext>
            </a:extLst>
          </p:cNvPr>
          <p:cNvSpPr txBox="1">
            <a:spLocks/>
          </p:cNvSpPr>
          <p:nvPr userDrawn="1"/>
        </p:nvSpPr>
        <p:spPr>
          <a:xfrm>
            <a:off x="1372062" y="6576879"/>
            <a:ext cx="932362" cy="547200"/>
          </a:xfrm>
          <a:prstGeom prst="rect">
            <a:avLst/>
          </a:prstGeom>
        </p:spPr>
        <p:txBody>
          <a:bodyPr/>
          <a:lstStyle>
            <a:defPPr>
              <a:defRPr lang="de-DE"/>
            </a:defPPr>
            <a:lvl1pPr algn="ctr" rtl="0" fontAlgn="base">
              <a:spcBef>
                <a:spcPct val="50000"/>
              </a:spcBef>
              <a:spcAft>
                <a:spcPct val="0"/>
              </a:spcAft>
              <a:defRPr kern="1400">
                <a:solidFill>
                  <a:schemeClr val="bg2"/>
                </a:solidFill>
                <a:latin typeface="Arial" pitchFamily="34" charset="0"/>
                <a:ea typeface="ＭＳ Ｐゴシック" charset="-128"/>
                <a:cs typeface="+mn-cs"/>
              </a:defRPr>
            </a:lvl1pPr>
            <a:lvl2pPr marL="457200" algn="ctr" rtl="0" fontAlgn="base">
              <a:spcBef>
                <a:spcPct val="50000"/>
              </a:spcBef>
              <a:spcAft>
                <a:spcPct val="0"/>
              </a:spcAft>
              <a:defRPr kern="1400">
                <a:solidFill>
                  <a:schemeClr val="bg2"/>
                </a:solidFill>
                <a:latin typeface="Arial" pitchFamily="34" charset="0"/>
                <a:ea typeface="ＭＳ Ｐゴシック" charset="-128"/>
                <a:cs typeface="+mn-cs"/>
              </a:defRPr>
            </a:lvl2pPr>
            <a:lvl3pPr marL="914400" algn="ctr" rtl="0" fontAlgn="base">
              <a:spcBef>
                <a:spcPct val="50000"/>
              </a:spcBef>
              <a:spcAft>
                <a:spcPct val="0"/>
              </a:spcAft>
              <a:defRPr kern="1400">
                <a:solidFill>
                  <a:schemeClr val="bg2"/>
                </a:solidFill>
                <a:latin typeface="Arial" pitchFamily="34" charset="0"/>
                <a:ea typeface="ＭＳ Ｐゴシック" charset="-128"/>
                <a:cs typeface="+mn-cs"/>
              </a:defRPr>
            </a:lvl3pPr>
            <a:lvl4pPr marL="1371600" algn="ctr" rtl="0" fontAlgn="base">
              <a:spcBef>
                <a:spcPct val="50000"/>
              </a:spcBef>
              <a:spcAft>
                <a:spcPct val="0"/>
              </a:spcAft>
              <a:defRPr kern="1400">
                <a:solidFill>
                  <a:schemeClr val="bg2"/>
                </a:solidFill>
                <a:latin typeface="Arial" pitchFamily="34" charset="0"/>
                <a:ea typeface="ＭＳ Ｐゴシック" charset="-128"/>
                <a:cs typeface="+mn-cs"/>
              </a:defRPr>
            </a:lvl4pPr>
            <a:lvl5pPr marL="1828800" algn="ctr" rtl="0" fontAlgn="base">
              <a:spcBef>
                <a:spcPct val="50000"/>
              </a:spcBef>
              <a:spcAft>
                <a:spcPct val="0"/>
              </a:spcAft>
              <a:defRPr kern="1400">
                <a:solidFill>
                  <a:schemeClr val="bg2"/>
                </a:solidFill>
                <a:latin typeface="Arial" pitchFamily="34" charset="0"/>
                <a:ea typeface="ＭＳ Ｐゴシック" charset="-128"/>
                <a:cs typeface="+mn-cs"/>
              </a:defRPr>
            </a:lvl5pPr>
            <a:lvl6pPr marL="2286000" algn="ctr" defTabSz="914400" rtl="0" eaLnBrk="1" latinLnBrk="0" hangingPunct="1">
              <a:defRPr kern="1400">
                <a:solidFill>
                  <a:schemeClr val="bg2"/>
                </a:solidFill>
                <a:latin typeface="Arial" pitchFamily="34" charset="0"/>
                <a:ea typeface="ＭＳ Ｐゴシック" charset="-128"/>
                <a:cs typeface="+mn-cs"/>
              </a:defRPr>
            </a:lvl6pPr>
            <a:lvl7pPr marL="2743200" algn="ctr" defTabSz="914400" rtl="0" eaLnBrk="1" latinLnBrk="0" hangingPunct="1">
              <a:defRPr kern="1400">
                <a:solidFill>
                  <a:schemeClr val="bg2"/>
                </a:solidFill>
                <a:latin typeface="Arial" pitchFamily="34" charset="0"/>
                <a:ea typeface="ＭＳ Ｐゴシック" charset="-128"/>
                <a:cs typeface="+mn-cs"/>
              </a:defRPr>
            </a:lvl7pPr>
            <a:lvl8pPr marL="3200400" algn="ctr" defTabSz="914400" rtl="0" eaLnBrk="1" latinLnBrk="0" hangingPunct="1">
              <a:defRPr kern="1400">
                <a:solidFill>
                  <a:schemeClr val="bg2"/>
                </a:solidFill>
                <a:latin typeface="Arial" pitchFamily="34" charset="0"/>
                <a:ea typeface="ＭＳ Ｐゴシック" charset="-128"/>
                <a:cs typeface="+mn-cs"/>
              </a:defRPr>
            </a:lvl8pPr>
            <a:lvl9pPr marL="3657600" algn="ctr" defTabSz="914400" rtl="0" eaLnBrk="1" latinLnBrk="0" hangingPunct="1">
              <a:defRPr kern="1400">
                <a:solidFill>
                  <a:schemeClr val="bg2"/>
                </a:solidFill>
                <a:latin typeface="Arial" pitchFamily="34" charset="0"/>
                <a:ea typeface="ＭＳ Ｐゴシック" charset="-128"/>
                <a:cs typeface="+mn-cs"/>
              </a:defRPr>
            </a:lvl9pPr>
          </a:lstStyle>
          <a:p>
            <a:r>
              <a:rPr lang="en-US" sz="1000">
                <a:solidFill>
                  <a:schemeClr val="bg1"/>
                </a:solidFill>
              </a:rPr>
              <a:t>Page </a:t>
            </a:r>
            <a:fld id="{15EBE321-CBB1-4E91-BD14-37C8D44326FB}" type="slidenum">
              <a:rPr lang="en-US" sz="1000" smtClean="0">
                <a:solidFill>
                  <a:schemeClr val="bg1"/>
                </a:solidFill>
              </a:rPr>
              <a:pPr/>
              <a:t>‹Nr.›</a:t>
            </a:fld>
            <a:endParaRPr lang="en-US" sz="1000">
              <a:solidFill>
                <a:schemeClr val="bg1"/>
              </a:solidFill>
            </a:endParaRPr>
          </a:p>
        </p:txBody>
      </p:sp>
      <p:pic>
        <p:nvPicPr>
          <p:cNvPr id="66" name="Cognisphere" descr="A picture containing fireworks, star, table, sky&#10;&#10;Description automatically generated">
            <a:extLst>
              <a:ext uri="{FF2B5EF4-FFF2-40B4-BE49-F238E27FC236}">
                <a16:creationId xmlns:a16="http://schemas.microsoft.com/office/drawing/2014/main" id="{F718B62D-DEBD-4B64-BCBB-D638F65B7DAF}"/>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t="16050" r="37225"/>
          <a:stretch/>
        </p:blipFill>
        <p:spPr>
          <a:xfrm>
            <a:off x="-1571" y="7534185"/>
            <a:ext cx="2162645" cy="857971"/>
          </a:xfrm>
          <a:prstGeom prst="rect">
            <a:avLst/>
          </a:prstGeom>
        </p:spPr>
      </p:pic>
      <p:pic>
        <p:nvPicPr>
          <p:cNvPr id="67" name="Picture 2">
            <a:extLst>
              <a:ext uri="{FF2B5EF4-FFF2-40B4-BE49-F238E27FC236}">
                <a16:creationId xmlns:a16="http://schemas.microsoft.com/office/drawing/2014/main" id="{0A2835B4-E22B-4C46-B29E-BF593721B89D}"/>
              </a:ext>
            </a:extLst>
          </p:cNvPr>
          <p:cNvPicPr>
            <a:picLocks noChangeAspect="1" noChangeArrowheads="1"/>
          </p:cNvPicPr>
          <p:nvPr userDrawn="1"/>
        </p:nvPicPr>
        <p:blipFill rotWithShape="1">
          <a:blip r:embed="rId8" cstate="hqprint">
            <a:extLst>
              <a:ext uri="{28A0092B-C50C-407E-A947-70E740481C1C}">
                <a14:useLocalDpi xmlns:a14="http://schemas.microsoft.com/office/drawing/2010/main"/>
              </a:ext>
            </a:extLst>
          </a:blip>
          <a:srcRect l="4815" t="1" r="13436" b="42973"/>
          <a:stretch/>
        </p:blipFill>
        <p:spPr bwMode="auto">
          <a:xfrm>
            <a:off x="-1571" y="7510416"/>
            <a:ext cx="1227984" cy="362593"/>
          </a:xfrm>
          <a:prstGeom prst="rect">
            <a:avLst/>
          </a:prstGeom>
        </p:spPr>
      </p:pic>
      <p:sp>
        <p:nvSpPr>
          <p:cNvPr id="68" name="Slide Number Placeholder">
            <a:extLst>
              <a:ext uri="{FF2B5EF4-FFF2-40B4-BE49-F238E27FC236}">
                <a16:creationId xmlns:a16="http://schemas.microsoft.com/office/drawing/2014/main" id="{6F6F8A4A-1985-4589-BFAB-7E77C9C36DE0}"/>
              </a:ext>
            </a:extLst>
          </p:cNvPr>
          <p:cNvSpPr txBox="1">
            <a:spLocks/>
          </p:cNvSpPr>
          <p:nvPr userDrawn="1"/>
        </p:nvSpPr>
        <p:spPr>
          <a:xfrm>
            <a:off x="1308289" y="7588796"/>
            <a:ext cx="932362" cy="547200"/>
          </a:xfrm>
          <a:prstGeom prst="rect">
            <a:avLst/>
          </a:prstGeom>
        </p:spPr>
        <p:txBody>
          <a:bodyPr/>
          <a:lstStyle>
            <a:defPPr>
              <a:defRPr lang="de-DE"/>
            </a:defPPr>
            <a:lvl1pPr algn="ctr" rtl="0" fontAlgn="base">
              <a:spcBef>
                <a:spcPct val="50000"/>
              </a:spcBef>
              <a:spcAft>
                <a:spcPct val="0"/>
              </a:spcAft>
              <a:defRPr kern="1400">
                <a:solidFill>
                  <a:schemeClr val="bg2"/>
                </a:solidFill>
                <a:latin typeface="Arial" pitchFamily="34" charset="0"/>
                <a:ea typeface="ＭＳ Ｐゴシック" charset="-128"/>
                <a:cs typeface="+mn-cs"/>
              </a:defRPr>
            </a:lvl1pPr>
            <a:lvl2pPr marL="457200" algn="ctr" rtl="0" fontAlgn="base">
              <a:spcBef>
                <a:spcPct val="50000"/>
              </a:spcBef>
              <a:spcAft>
                <a:spcPct val="0"/>
              </a:spcAft>
              <a:defRPr kern="1400">
                <a:solidFill>
                  <a:schemeClr val="bg2"/>
                </a:solidFill>
                <a:latin typeface="Arial" pitchFamily="34" charset="0"/>
                <a:ea typeface="ＭＳ Ｐゴシック" charset="-128"/>
                <a:cs typeface="+mn-cs"/>
              </a:defRPr>
            </a:lvl2pPr>
            <a:lvl3pPr marL="914400" algn="ctr" rtl="0" fontAlgn="base">
              <a:spcBef>
                <a:spcPct val="50000"/>
              </a:spcBef>
              <a:spcAft>
                <a:spcPct val="0"/>
              </a:spcAft>
              <a:defRPr kern="1400">
                <a:solidFill>
                  <a:schemeClr val="bg2"/>
                </a:solidFill>
                <a:latin typeface="Arial" pitchFamily="34" charset="0"/>
                <a:ea typeface="ＭＳ Ｐゴシック" charset="-128"/>
                <a:cs typeface="+mn-cs"/>
              </a:defRPr>
            </a:lvl3pPr>
            <a:lvl4pPr marL="1371600" algn="ctr" rtl="0" fontAlgn="base">
              <a:spcBef>
                <a:spcPct val="50000"/>
              </a:spcBef>
              <a:spcAft>
                <a:spcPct val="0"/>
              </a:spcAft>
              <a:defRPr kern="1400">
                <a:solidFill>
                  <a:schemeClr val="bg2"/>
                </a:solidFill>
                <a:latin typeface="Arial" pitchFamily="34" charset="0"/>
                <a:ea typeface="ＭＳ Ｐゴシック" charset="-128"/>
                <a:cs typeface="+mn-cs"/>
              </a:defRPr>
            </a:lvl4pPr>
            <a:lvl5pPr marL="1828800" algn="ctr" rtl="0" fontAlgn="base">
              <a:spcBef>
                <a:spcPct val="50000"/>
              </a:spcBef>
              <a:spcAft>
                <a:spcPct val="0"/>
              </a:spcAft>
              <a:defRPr kern="1400">
                <a:solidFill>
                  <a:schemeClr val="bg2"/>
                </a:solidFill>
                <a:latin typeface="Arial" pitchFamily="34" charset="0"/>
                <a:ea typeface="ＭＳ Ｐゴシック" charset="-128"/>
                <a:cs typeface="+mn-cs"/>
              </a:defRPr>
            </a:lvl5pPr>
            <a:lvl6pPr marL="2286000" algn="ctr" defTabSz="914400" rtl="0" eaLnBrk="1" latinLnBrk="0" hangingPunct="1">
              <a:defRPr kern="1400">
                <a:solidFill>
                  <a:schemeClr val="bg2"/>
                </a:solidFill>
                <a:latin typeface="Arial" pitchFamily="34" charset="0"/>
                <a:ea typeface="ＭＳ Ｐゴシック" charset="-128"/>
                <a:cs typeface="+mn-cs"/>
              </a:defRPr>
            </a:lvl6pPr>
            <a:lvl7pPr marL="2743200" algn="ctr" defTabSz="914400" rtl="0" eaLnBrk="1" latinLnBrk="0" hangingPunct="1">
              <a:defRPr kern="1400">
                <a:solidFill>
                  <a:schemeClr val="bg2"/>
                </a:solidFill>
                <a:latin typeface="Arial" pitchFamily="34" charset="0"/>
                <a:ea typeface="ＭＳ Ｐゴシック" charset="-128"/>
                <a:cs typeface="+mn-cs"/>
              </a:defRPr>
            </a:lvl7pPr>
            <a:lvl8pPr marL="3200400" algn="ctr" defTabSz="914400" rtl="0" eaLnBrk="1" latinLnBrk="0" hangingPunct="1">
              <a:defRPr kern="1400">
                <a:solidFill>
                  <a:schemeClr val="bg2"/>
                </a:solidFill>
                <a:latin typeface="Arial" pitchFamily="34" charset="0"/>
                <a:ea typeface="ＭＳ Ｐゴシック" charset="-128"/>
                <a:cs typeface="+mn-cs"/>
              </a:defRPr>
            </a:lvl8pPr>
            <a:lvl9pPr marL="3657600" algn="ctr" defTabSz="914400" rtl="0" eaLnBrk="1" latinLnBrk="0" hangingPunct="1">
              <a:defRPr kern="1400">
                <a:solidFill>
                  <a:schemeClr val="bg2"/>
                </a:solidFill>
                <a:latin typeface="Arial" pitchFamily="34" charset="0"/>
                <a:ea typeface="ＭＳ Ｐゴシック" charset="-128"/>
                <a:cs typeface="+mn-cs"/>
              </a:defRPr>
            </a:lvl9pPr>
          </a:lstStyle>
          <a:p>
            <a:r>
              <a:rPr lang="en-US" sz="1000">
                <a:solidFill>
                  <a:schemeClr val="bg1"/>
                </a:solidFill>
              </a:rPr>
              <a:t>Page </a:t>
            </a:r>
            <a:fld id="{15EBE321-CBB1-4E91-BD14-37C8D44326FB}" type="slidenum">
              <a:rPr lang="en-US" sz="1000" smtClean="0">
                <a:solidFill>
                  <a:schemeClr val="bg1"/>
                </a:solidFill>
              </a:rPr>
              <a:pPr/>
              <a:t>‹Nr.›</a:t>
            </a:fld>
            <a:endParaRPr lang="en-US" sz="1000">
              <a:solidFill>
                <a:schemeClr val="bg1"/>
              </a:solidFill>
            </a:endParaRPr>
          </a:p>
        </p:txBody>
      </p:sp>
      <p:pic>
        <p:nvPicPr>
          <p:cNvPr id="70" name="Siemens Logo">
            <a:extLst>
              <a:ext uri="{FF2B5EF4-FFF2-40B4-BE49-F238E27FC236}">
                <a16:creationId xmlns:a16="http://schemas.microsoft.com/office/drawing/2014/main" id="{010BE05E-61C1-49FC-8123-9E6455B20742}"/>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66917" y="6605373"/>
            <a:ext cx="932362" cy="148246"/>
          </a:xfrm>
          <a:prstGeom prst="rect">
            <a:avLst/>
          </a:prstGeom>
        </p:spPr>
      </p:pic>
      <p:sp>
        <p:nvSpPr>
          <p:cNvPr id="74" name="Rechteck 27">
            <a:extLst>
              <a:ext uri="{FF2B5EF4-FFF2-40B4-BE49-F238E27FC236}">
                <a16:creationId xmlns:a16="http://schemas.microsoft.com/office/drawing/2014/main" id="{6109B672-6536-4221-A1A5-D6ED7BD59DED}"/>
              </a:ext>
            </a:extLst>
          </p:cNvPr>
          <p:cNvSpPr/>
          <p:nvPr userDrawn="1"/>
        </p:nvSpPr>
        <p:spPr bwMode="auto">
          <a:xfrm>
            <a:off x="12362" y="-639891"/>
            <a:ext cx="2162645" cy="413666"/>
          </a:xfrm>
          <a:prstGeom prst="rect">
            <a:avLst/>
          </a:prstGeom>
          <a:noFill/>
          <a:ln w="3175">
            <a:noFill/>
          </a:ln>
          <a:effectLst/>
        </p:spPr>
        <p:txBody>
          <a:bodyPr wrap="square" lIns="36000" tIns="72000" rIns="108000" bIns="72000" numCol="1" spcCol="72000" rtlCol="0" anchor="t" anchorCtr="0">
            <a:noAutofit/>
          </a:bodyPr>
          <a:lstStyle/>
          <a:p>
            <a:pPr marL="0" marR="0" lvl="0" indent="0" algn="l" defTabSz="914400" rtl="0" eaLnBrk="1" fontAlgn="base" latinLnBrk="0" hangingPunct="1">
              <a:lnSpc>
                <a:spcPts val="1900"/>
              </a:lnSpc>
              <a:spcBef>
                <a:spcPts val="0"/>
              </a:spcBef>
              <a:spcAft>
                <a:spcPts val="0"/>
              </a:spcAft>
              <a:buClrTx/>
              <a:buSzTx/>
              <a:buFontTx/>
              <a:buNone/>
              <a:tabLst/>
              <a:defRPr/>
            </a:pPr>
            <a:r>
              <a:rPr lang="en-US" sz="1100" b="1">
                <a:solidFill>
                  <a:schemeClr val="bg1"/>
                </a:solidFill>
                <a:latin typeface="Siemens Sans" pitchFamily="2" charset="0"/>
              </a:rPr>
              <a:t>Climatix </a:t>
            </a:r>
            <a:r>
              <a:rPr lang="en-US" sz="1100">
                <a:solidFill>
                  <a:schemeClr val="bg1"/>
                </a:solidFill>
                <a:latin typeface="Siemens Sans" pitchFamily="2" charset="0"/>
              </a:rPr>
              <a:t>© 2020</a:t>
            </a:r>
            <a:endParaRPr lang="en-US" sz="1100">
              <a:solidFill>
                <a:schemeClr val="bg1"/>
              </a:solidFill>
              <a:latin typeface="Siemens Sans SC Black" pitchFamily="2" charset="0"/>
            </a:endParaRPr>
          </a:p>
          <a:p>
            <a:pPr marL="0" algn="l">
              <a:lnSpc>
                <a:spcPts val="1700"/>
              </a:lnSpc>
              <a:spcBef>
                <a:spcPts val="0"/>
              </a:spcBef>
              <a:spcAft>
                <a:spcPts val="0"/>
              </a:spcAft>
            </a:pPr>
            <a:r>
              <a:rPr lang="en-US" sz="1100" noProof="0">
                <a:solidFill>
                  <a:schemeClr val="bg1"/>
                </a:solidFill>
                <a:latin typeface="Siemens Sans" pitchFamily="2" charset="0"/>
              </a:rPr>
              <a:t>SAPRO Courseware</a:t>
            </a:r>
          </a:p>
        </p:txBody>
      </p:sp>
      <p:sp>
        <p:nvSpPr>
          <p:cNvPr id="2" name="Rectangle 1">
            <a:extLst>
              <a:ext uri="{FF2B5EF4-FFF2-40B4-BE49-F238E27FC236}">
                <a16:creationId xmlns:a16="http://schemas.microsoft.com/office/drawing/2014/main" id="{DAC7EE27-538F-4781-8E80-A7050CA678E8}"/>
              </a:ext>
            </a:extLst>
          </p:cNvPr>
          <p:cNvSpPr/>
          <p:nvPr userDrawn="1"/>
        </p:nvSpPr>
        <p:spPr bwMode="auto">
          <a:xfrm>
            <a:off x="-638175" y="467999"/>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15" name="Rectangle 14">
            <a:extLst>
              <a:ext uri="{FF2B5EF4-FFF2-40B4-BE49-F238E27FC236}">
                <a16:creationId xmlns:a16="http://schemas.microsoft.com/office/drawing/2014/main" id="{2E4EAEB0-CB28-4934-813F-8AD00CC4D751}"/>
              </a:ext>
            </a:extLst>
          </p:cNvPr>
          <p:cNvSpPr/>
          <p:nvPr userDrawn="1"/>
        </p:nvSpPr>
        <p:spPr bwMode="auto">
          <a:xfrm>
            <a:off x="-638175" y="727500"/>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16" name="Rectangle 15">
            <a:extLst>
              <a:ext uri="{FF2B5EF4-FFF2-40B4-BE49-F238E27FC236}">
                <a16:creationId xmlns:a16="http://schemas.microsoft.com/office/drawing/2014/main" id="{D585220E-7086-4CC9-B375-CC9686DFC2AB}"/>
              </a:ext>
            </a:extLst>
          </p:cNvPr>
          <p:cNvSpPr/>
          <p:nvPr userDrawn="1"/>
        </p:nvSpPr>
        <p:spPr bwMode="auto">
          <a:xfrm>
            <a:off x="-638175" y="988804"/>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17" name="Rectangle 16">
            <a:extLst>
              <a:ext uri="{FF2B5EF4-FFF2-40B4-BE49-F238E27FC236}">
                <a16:creationId xmlns:a16="http://schemas.microsoft.com/office/drawing/2014/main" id="{B0CB6D1F-8FF2-48C2-8753-13170F55BA58}"/>
              </a:ext>
            </a:extLst>
          </p:cNvPr>
          <p:cNvSpPr/>
          <p:nvPr userDrawn="1"/>
        </p:nvSpPr>
        <p:spPr bwMode="auto">
          <a:xfrm>
            <a:off x="-638175" y="1236719"/>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18" name="Rectangle 17">
            <a:extLst>
              <a:ext uri="{FF2B5EF4-FFF2-40B4-BE49-F238E27FC236}">
                <a16:creationId xmlns:a16="http://schemas.microsoft.com/office/drawing/2014/main" id="{FA42EF33-97DD-4081-8357-9BB549B99F4B}"/>
              </a:ext>
            </a:extLst>
          </p:cNvPr>
          <p:cNvSpPr/>
          <p:nvPr userDrawn="1"/>
        </p:nvSpPr>
        <p:spPr bwMode="auto">
          <a:xfrm>
            <a:off x="-638175" y="1488498"/>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19" name="Rectangle 18">
            <a:extLst>
              <a:ext uri="{FF2B5EF4-FFF2-40B4-BE49-F238E27FC236}">
                <a16:creationId xmlns:a16="http://schemas.microsoft.com/office/drawing/2014/main" id="{F4DE899B-45DC-4333-AFCA-A0DFBD837582}"/>
              </a:ext>
            </a:extLst>
          </p:cNvPr>
          <p:cNvSpPr/>
          <p:nvPr userDrawn="1"/>
        </p:nvSpPr>
        <p:spPr bwMode="auto">
          <a:xfrm>
            <a:off x="-638175" y="1724882"/>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20" name="Rectangle 19">
            <a:extLst>
              <a:ext uri="{FF2B5EF4-FFF2-40B4-BE49-F238E27FC236}">
                <a16:creationId xmlns:a16="http://schemas.microsoft.com/office/drawing/2014/main" id="{953EA200-5B78-401C-A1EC-06ABC6477592}"/>
              </a:ext>
            </a:extLst>
          </p:cNvPr>
          <p:cNvSpPr/>
          <p:nvPr userDrawn="1"/>
        </p:nvSpPr>
        <p:spPr bwMode="auto">
          <a:xfrm>
            <a:off x="-638175" y="1963045"/>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21" name="Rectangle 20">
            <a:extLst>
              <a:ext uri="{FF2B5EF4-FFF2-40B4-BE49-F238E27FC236}">
                <a16:creationId xmlns:a16="http://schemas.microsoft.com/office/drawing/2014/main" id="{369D7831-FA4F-46FB-A7C7-7DA736C3F4EA}"/>
              </a:ext>
            </a:extLst>
          </p:cNvPr>
          <p:cNvSpPr/>
          <p:nvPr userDrawn="1"/>
        </p:nvSpPr>
        <p:spPr bwMode="auto">
          <a:xfrm>
            <a:off x="-638175" y="2201308"/>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22" name="Rectangle 21">
            <a:extLst>
              <a:ext uri="{FF2B5EF4-FFF2-40B4-BE49-F238E27FC236}">
                <a16:creationId xmlns:a16="http://schemas.microsoft.com/office/drawing/2014/main" id="{F7857D5E-AA39-4586-AABA-7215299BA5C3}"/>
              </a:ext>
            </a:extLst>
          </p:cNvPr>
          <p:cNvSpPr/>
          <p:nvPr userDrawn="1"/>
        </p:nvSpPr>
        <p:spPr bwMode="auto">
          <a:xfrm>
            <a:off x="-638175" y="2428899"/>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23" name="Rectangle 22">
            <a:extLst>
              <a:ext uri="{FF2B5EF4-FFF2-40B4-BE49-F238E27FC236}">
                <a16:creationId xmlns:a16="http://schemas.microsoft.com/office/drawing/2014/main" id="{A7495825-201B-453E-931F-D7F3B95527BF}"/>
              </a:ext>
            </a:extLst>
          </p:cNvPr>
          <p:cNvSpPr/>
          <p:nvPr userDrawn="1"/>
        </p:nvSpPr>
        <p:spPr bwMode="auto">
          <a:xfrm>
            <a:off x="-638175" y="2676261"/>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24" name="Rectangle 23">
            <a:extLst>
              <a:ext uri="{FF2B5EF4-FFF2-40B4-BE49-F238E27FC236}">
                <a16:creationId xmlns:a16="http://schemas.microsoft.com/office/drawing/2014/main" id="{10B41F1B-B6ED-40CB-AA64-2C9374DFB5A4}"/>
              </a:ext>
            </a:extLst>
          </p:cNvPr>
          <p:cNvSpPr/>
          <p:nvPr userDrawn="1"/>
        </p:nvSpPr>
        <p:spPr bwMode="auto">
          <a:xfrm>
            <a:off x="-638175" y="2945050"/>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25" name="Rectangle 24">
            <a:extLst>
              <a:ext uri="{FF2B5EF4-FFF2-40B4-BE49-F238E27FC236}">
                <a16:creationId xmlns:a16="http://schemas.microsoft.com/office/drawing/2014/main" id="{4A46AD4E-C12A-4889-BBF2-7AF23AA55E10}"/>
              </a:ext>
            </a:extLst>
          </p:cNvPr>
          <p:cNvSpPr/>
          <p:nvPr userDrawn="1"/>
        </p:nvSpPr>
        <p:spPr bwMode="auto">
          <a:xfrm>
            <a:off x="-638175" y="3185102"/>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graphicFrame>
        <p:nvGraphicFramePr>
          <p:cNvPr id="26" name="Table 46">
            <a:extLst>
              <a:ext uri="{FF2B5EF4-FFF2-40B4-BE49-F238E27FC236}">
                <a16:creationId xmlns:a16="http://schemas.microsoft.com/office/drawing/2014/main" id="{E7842646-36CC-4D12-A2D9-CF80BD2DAF7A}"/>
              </a:ext>
            </a:extLst>
          </p:cNvPr>
          <p:cNvGraphicFramePr>
            <a:graphicFrameLocks noGrp="1"/>
          </p:cNvGraphicFramePr>
          <p:nvPr userDrawn="1">
            <p:extLst>
              <p:ext uri="{D42A27DB-BD31-4B8C-83A1-F6EECF244321}">
                <p14:modId xmlns:p14="http://schemas.microsoft.com/office/powerpoint/2010/main" val="1243894260"/>
              </p:ext>
            </p:extLst>
          </p:nvPr>
        </p:nvGraphicFramePr>
        <p:xfrm>
          <a:off x="17503" y="472937"/>
          <a:ext cx="2122193" cy="5626276"/>
        </p:xfrm>
        <a:graphic>
          <a:graphicData uri="http://schemas.openxmlformats.org/drawingml/2006/table">
            <a:tbl>
              <a:tblPr>
                <a:tableStyleId>{5C22544A-7EE6-4342-B048-85BDC9FD1C3A}</a:tableStyleId>
              </a:tblPr>
              <a:tblGrid>
                <a:gridCol w="2122193">
                  <a:extLst>
                    <a:ext uri="{9D8B030D-6E8A-4147-A177-3AD203B41FA5}">
                      <a16:colId xmlns:a16="http://schemas.microsoft.com/office/drawing/2014/main" val="1040045700"/>
                    </a:ext>
                  </a:extLst>
                </a:gridCol>
              </a:tblGrid>
              <a:tr h="181034">
                <a:tc>
                  <a:txBody>
                    <a:bodyPr/>
                    <a:lstStyle/>
                    <a:p>
                      <a:pPr marL="0" marR="0" lvl="0" indent="0" algn="l" defTabSz="914400" rtl="0" eaLnBrk="1" fontAlgn="b" latinLnBrk="0" hangingPunct="1">
                        <a:lnSpc>
                          <a:spcPts val="1320"/>
                        </a:lnSpc>
                        <a:spcBef>
                          <a:spcPts val="0"/>
                        </a:spcBef>
                        <a:spcAft>
                          <a:spcPts val="0"/>
                        </a:spcAft>
                        <a:buClrTx/>
                        <a:buSzTx/>
                        <a:buFontTx/>
                        <a:buNone/>
                        <a:tabLst/>
                        <a:defRPr/>
                      </a:pPr>
                      <a:r>
                        <a:rPr lang="en-US" sz="1100" b="1" i="0" u="none" strike="noStrike" dirty="0">
                          <a:solidFill>
                            <a:schemeClr val="tx2">
                              <a:lumMod val="50000"/>
                              <a:lumOff val="50000"/>
                            </a:schemeClr>
                          </a:solidFill>
                          <a:effectLst/>
                          <a:latin typeface="+mn-lt"/>
                          <a:cs typeface="Arial" panose="020B0604020202020204" pitchFamily="34" charset="0"/>
                        </a:rPr>
                        <a:t>Introduction</a:t>
                      </a:r>
                    </a:p>
                  </a:txBody>
                  <a:tcPr marL="36000" marR="0" marT="36000" marB="3600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350840654"/>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dirty="0">
                          <a:solidFill>
                            <a:schemeClr val="tx2">
                              <a:lumMod val="50000"/>
                              <a:lumOff val="50000"/>
                            </a:schemeClr>
                          </a:solidFill>
                          <a:latin typeface="+mn-lt"/>
                        </a:rPr>
                        <a:t>– </a:t>
                      </a:r>
                      <a:r>
                        <a:rPr lang="en-US" sz="1100" u="none" strike="noStrike" kern="1200" dirty="0">
                          <a:solidFill>
                            <a:schemeClr val="tx2">
                              <a:lumMod val="50000"/>
                              <a:lumOff val="50000"/>
                            </a:schemeClr>
                          </a:solidFill>
                          <a:effectLst/>
                          <a:latin typeface="+mn-lt"/>
                          <a:ea typeface="+mn-ea"/>
                          <a:cs typeface="Arial" panose="020B0604020202020204" pitchFamily="34" charset="0"/>
                        </a:rPr>
                        <a:t>P</a:t>
                      </a:r>
                      <a:r>
                        <a:rPr lang="en-US" sz="1100" u="none" strike="noStrike" dirty="0">
                          <a:solidFill>
                            <a:schemeClr val="tx2">
                              <a:lumMod val="50000"/>
                              <a:lumOff val="50000"/>
                            </a:schemeClr>
                          </a:solidFill>
                          <a:effectLst/>
                          <a:latin typeface="+mn-lt"/>
                          <a:cs typeface="Arial" panose="020B0604020202020204" pitchFamily="34" charset="0"/>
                        </a:rPr>
                        <a:t>roduct line / Tools</a:t>
                      </a:r>
                      <a:endParaRPr lang="en-US" sz="1100" u="none" strike="noStrike" kern="1200" dirty="0">
                        <a:solidFill>
                          <a:schemeClr val="tx2">
                            <a:lumMod val="50000"/>
                            <a:lumOff val="50000"/>
                          </a:schemeClr>
                        </a:solidFill>
                        <a:effectLst/>
                        <a:latin typeface="+mn-lt"/>
                        <a:ea typeface="+mn-ea"/>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354887946"/>
                  </a:ext>
                </a:extLst>
              </a:tr>
              <a:tr h="205325">
                <a:tc>
                  <a:txBody>
                    <a:bodyPr/>
                    <a:lstStyle/>
                    <a:p>
                      <a:pPr marL="0" marR="0" lvl="0" indent="0" algn="l" defTabSz="914400" rtl="0" eaLnBrk="1" fontAlgn="b" latinLnBrk="0" hangingPunct="1">
                        <a:lnSpc>
                          <a:spcPts val="1900"/>
                        </a:lnSpc>
                        <a:spcBef>
                          <a:spcPts val="300"/>
                        </a:spcBef>
                        <a:spcAft>
                          <a:spcPts val="0"/>
                        </a:spcAft>
                        <a:buClrTx/>
                        <a:buSzTx/>
                        <a:buFontTx/>
                        <a:buNone/>
                        <a:tabLst/>
                        <a:defRPr/>
                      </a:pPr>
                      <a:r>
                        <a:rPr lang="en-US" sz="1100" b="1" i="0" u="none" strike="noStrike" dirty="0">
                          <a:solidFill>
                            <a:schemeClr val="tx2">
                              <a:lumMod val="50000"/>
                              <a:lumOff val="50000"/>
                            </a:schemeClr>
                          </a:solidFill>
                          <a:effectLst/>
                          <a:latin typeface="+mn-lt"/>
                          <a:cs typeface="Arial" panose="020B0604020202020204" pitchFamily="34" charset="0"/>
                        </a:rPr>
                        <a:t>SAPRO</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1949433187"/>
                  </a:ext>
                </a:extLst>
              </a:tr>
              <a:tr h="182974">
                <a:tc>
                  <a:txBody>
                    <a:bodyPr/>
                    <a:lstStyle/>
                    <a:p>
                      <a:pPr algn="l" fontAlgn="b"/>
                      <a:r>
                        <a:rPr lang="en-US" sz="1100" b="0" dirty="0">
                          <a:solidFill>
                            <a:schemeClr val="tx2">
                              <a:lumMod val="50000"/>
                              <a:lumOff val="50000"/>
                            </a:schemeClr>
                          </a:solidFill>
                          <a:latin typeface="+mn-lt"/>
                        </a:rPr>
                        <a:t>– </a:t>
                      </a:r>
                      <a:r>
                        <a:rPr lang="en-US" sz="1100" b="0" u="none" strike="noStrike" dirty="0">
                          <a:solidFill>
                            <a:schemeClr val="tx2">
                              <a:lumMod val="50000"/>
                              <a:lumOff val="50000"/>
                            </a:schemeClr>
                          </a:solidFill>
                          <a:effectLst/>
                          <a:latin typeface="+mn-lt"/>
                          <a:cs typeface="Arial" panose="020B0604020202020204" pitchFamily="34" charset="0"/>
                        </a:rPr>
                        <a:t>POUs / Libraries</a:t>
                      </a:r>
                      <a:endParaRPr lang="en-US" sz="1100" b="0" i="0" u="none" strike="noStrike" dirty="0">
                        <a:solidFill>
                          <a:schemeClr val="tx2">
                            <a:lumMod val="50000"/>
                            <a:lumOff val="50000"/>
                          </a:schemeClr>
                        </a:solidFill>
                        <a:effectLst/>
                        <a:latin typeface="+mn-lt"/>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1707679614"/>
                  </a:ext>
                </a:extLst>
              </a:tr>
              <a:tr h="182974">
                <a:tc>
                  <a:txBody>
                    <a:bodyPr/>
                    <a:lstStyle/>
                    <a:p>
                      <a:pPr algn="l" fontAlgn="b"/>
                      <a:r>
                        <a:rPr lang="en-US" sz="1100" u="none" strike="noStrike" kern="1200" dirty="0">
                          <a:solidFill>
                            <a:schemeClr val="tx2">
                              <a:lumMod val="50000"/>
                              <a:lumOff val="50000"/>
                            </a:schemeClr>
                          </a:solidFill>
                          <a:effectLst/>
                          <a:latin typeface="+mn-lt"/>
                          <a:ea typeface="+mn-ea"/>
                          <a:cs typeface="Arial" panose="020B0604020202020204" pitchFamily="34" charset="0"/>
                        </a:rPr>
                        <a:t>– </a:t>
                      </a:r>
                      <a:r>
                        <a:rPr lang="en-US" sz="1100" u="none" strike="noStrike" kern="1200" noProof="0" dirty="0">
                          <a:solidFill>
                            <a:schemeClr val="tx2">
                              <a:lumMod val="50000"/>
                              <a:lumOff val="50000"/>
                            </a:schemeClr>
                          </a:solidFill>
                          <a:effectLst/>
                          <a:latin typeface="+mn-lt"/>
                          <a:ea typeface="+mn-ea"/>
                          <a:cs typeface="Arial" panose="020B0604020202020204" pitchFamily="34" charset="0"/>
                        </a:rPr>
                        <a:t>Function block / Local variable</a:t>
                      </a:r>
                      <a:endParaRPr lang="en-US" sz="1100" u="none" strike="noStrike" kern="1200" dirty="0">
                        <a:solidFill>
                          <a:schemeClr val="tx2">
                            <a:lumMod val="50000"/>
                            <a:lumOff val="50000"/>
                          </a:schemeClr>
                        </a:solidFill>
                        <a:effectLst/>
                        <a:latin typeface="+mn-lt"/>
                        <a:ea typeface="+mn-ea"/>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019614573"/>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u="none" strike="noStrike" kern="1200" noProof="0" dirty="0">
                          <a:solidFill>
                            <a:schemeClr val="tx2">
                              <a:lumMod val="50000"/>
                              <a:lumOff val="50000"/>
                            </a:schemeClr>
                          </a:solidFill>
                          <a:effectLst/>
                          <a:latin typeface="+mn-lt"/>
                          <a:ea typeface="+mn-ea"/>
                          <a:cs typeface="Arial" panose="020B0604020202020204" pitchFamily="34" charset="0"/>
                        </a:rPr>
                        <a:t>– </a:t>
                      </a:r>
                      <a:r>
                        <a:rPr lang="en-US" sz="1100" u="none" strike="noStrike" kern="1200" dirty="0">
                          <a:solidFill>
                            <a:schemeClr val="tx2">
                              <a:lumMod val="50000"/>
                              <a:lumOff val="50000"/>
                            </a:schemeClr>
                          </a:solidFill>
                          <a:effectLst/>
                          <a:latin typeface="+mn-lt"/>
                          <a:ea typeface="+mn-ea"/>
                          <a:cs typeface="Arial" panose="020B0604020202020204" pitchFamily="34" charset="0"/>
                        </a:rPr>
                        <a:t>Program hierarchy</a:t>
                      </a:r>
                      <a:endParaRPr lang="en-US" sz="1100" u="none" strike="noStrike" kern="1200" noProof="0" dirty="0">
                        <a:solidFill>
                          <a:schemeClr val="tx2">
                            <a:lumMod val="50000"/>
                            <a:lumOff val="50000"/>
                          </a:schemeClr>
                        </a:solidFill>
                        <a:effectLst/>
                        <a:latin typeface="+mn-lt"/>
                        <a:ea typeface="+mn-ea"/>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626583726"/>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u="none" strike="noStrike" kern="1200" noProof="0" dirty="0">
                          <a:solidFill>
                            <a:schemeClr val="tx2">
                              <a:lumMod val="50000"/>
                              <a:lumOff val="50000"/>
                            </a:schemeClr>
                          </a:solidFill>
                          <a:effectLst/>
                          <a:latin typeface="+mn-lt"/>
                          <a:ea typeface="+mn-ea"/>
                          <a:cs typeface="Arial" panose="020B0604020202020204" pitchFamily="34" charset="0"/>
                        </a:rPr>
                        <a:t>– Data types / Global variable</a:t>
                      </a:r>
                      <a:endPar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78062048"/>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mn-cs"/>
                        </a:rPr>
                        <a:t>– </a:t>
                      </a: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mn-ea"/>
                          <a:cs typeface="Arial" panose="020B0604020202020204" pitchFamily="34" charset="0"/>
                        </a:rPr>
                        <a:t>Online test</a:t>
                      </a:r>
                      <a:endPar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634464637"/>
                  </a:ext>
                </a:extLst>
              </a:tr>
              <a:tr h="13863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i="0" u="none" strike="noStrike" kern="1200" dirty="0">
                          <a:solidFill>
                            <a:schemeClr val="tx2">
                              <a:lumMod val="50000"/>
                              <a:lumOff val="50000"/>
                            </a:schemeClr>
                          </a:solidFill>
                          <a:effectLst/>
                          <a:latin typeface="+mn-lt"/>
                          <a:ea typeface="+mn-ea"/>
                          <a:cs typeface="Arial" panose="020B0604020202020204" pitchFamily="34" charset="0"/>
                        </a:rPr>
                        <a:t>SCOPE</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942642343"/>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mn-ea"/>
                          <a:cs typeface="+mn-cs"/>
                        </a:rPr>
                        <a:t>– Overview / </a:t>
                      </a: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mn-ea"/>
                          <a:cs typeface="Arial" panose="020B0604020202020204" pitchFamily="34" charset="0"/>
                        </a:rPr>
                        <a:t>Hierarchy level</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303318218"/>
                  </a:ext>
                </a:extLst>
              </a:tr>
              <a:tr h="205325">
                <a:tc>
                  <a:txBody>
                    <a:bodyPr/>
                    <a:lstStyle/>
                    <a:p>
                      <a:pPr marL="0" marR="0" lvl="0" indent="0" algn="l" defTabSz="914400" rtl="0" eaLnBrk="1" fontAlgn="b" latinLnBrk="0" hangingPunct="1">
                        <a:lnSpc>
                          <a:spcPts val="1900"/>
                        </a:lnSpc>
                        <a:spcBef>
                          <a:spcPts val="300"/>
                        </a:spcBef>
                        <a:spcAft>
                          <a:spcPts val="0"/>
                        </a:spcAft>
                        <a:buClrTx/>
                        <a:buSzTx/>
                        <a:buFontTx/>
                        <a:buNone/>
                        <a:tabLst/>
                        <a:defRPr/>
                      </a:pPr>
                      <a:r>
                        <a:rPr lang="en-US" sz="1100" b="1" i="0" u="none" strike="noStrike" kern="1200" dirty="0">
                          <a:solidFill>
                            <a:schemeClr val="tx2">
                              <a:lumMod val="50000"/>
                              <a:lumOff val="50000"/>
                            </a:schemeClr>
                          </a:solidFill>
                          <a:effectLst/>
                          <a:latin typeface="+mn-lt"/>
                          <a:ea typeface="+mn-ea"/>
                          <a:cs typeface="Arial" panose="020B0604020202020204" pitchFamily="34" charset="0"/>
                        </a:rPr>
                        <a:t>HVAC control </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097885269"/>
                  </a:ext>
                </a:extLst>
              </a:tr>
              <a:tr h="182974">
                <a:tc>
                  <a:txBody>
                    <a:bodyPr/>
                    <a:lstStyle/>
                    <a:p>
                      <a:pPr algn="l" fontAlgn="b"/>
                      <a:r>
                        <a:rPr lang="en-US" sz="1100" dirty="0">
                          <a:solidFill>
                            <a:schemeClr val="tx2">
                              <a:lumMod val="50000"/>
                              <a:lumOff val="50000"/>
                            </a:schemeClr>
                          </a:solidFill>
                          <a:latin typeface="+mn-lt"/>
                        </a:rPr>
                        <a:t>–</a:t>
                      </a:r>
                      <a:r>
                        <a:rPr lang="en-US" sz="1100" u="none" strike="noStrike" dirty="0">
                          <a:solidFill>
                            <a:schemeClr val="tx2">
                              <a:lumMod val="50000"/>
                              <a:lumOff val="50000"/>
                            </a:schemeClr>
                          </a:solidFill>
                          <a:effectLst/>
                          <a:latin typeface="+mn-lt"/>
                          <a:cs typeface="Arial" panose="020B0604020202020204" pitchFamily="34" charset="0"/>
                        </a:rPr>
                        <a:t> Automation objects (IO)</a:t>
                      </a:r>
                      <a:endParaRPr lang="en-US" sz="1100" b="0" i="0" u="none" strike="noStrike" dirty="0">
                        <a:solidFill>
                          <a:schemeClr val="tx2">
                            <a:lumMod val="50000"/>
                            <a:lumOff val="50000"/>
                          </a:schemeClr>
                        </a:solidFill>
                        <a:effectLst/>
                        <a:latin typeface="+mn-lt"/>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41810765"/>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mn-cs"/>
                        </a:rPr>
                        <a:t>– </a:t>
                      </a: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mn-ea"/>
                          <a:cs typeface="Arial" panose="020B0604020202020204" pitchFamily="34" charset="0"/>
                        </a:rPr>
                        <a:t>HW IO programming</a:t>
                      </a:r>
                      <a:endPar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501328702"/>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mn-cs"/>
                        </a:rPr>
                        <a:t>– </a:t>
                      </a: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mn-ea"/>
                          <a:cs typeface="Arial" panose="020B0604020202020204" pitchFamily="34" charset="0"/>
                        </a:rPr>
                        <a:t>HVAC control functions</a:t>
                      </a:r>
                      <a:endPar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134606211"/>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mn-cs"/>
                        </a:rPr>
                        <a:t>– </a:t>
                      </a: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mn-ea"/>
                          <a:cs typeface="Arial" panose="020B0604020202020204" pitchFamily="34" charset="0"/>
                        </a:rPr>
                        <a:t>Time schedule</a:t>
                      </a:r>
                      <a:endPar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1151106779"/>
                  </a:ext>
                </a:extLst>
              </a:tr>
              <a:tr h="205325">
                <a:tc>
                  <a:txBody>
                    <a:bodyPr/>
                    <a:lstStyle/>
                    <a:p>
                      <a:pPr marL="0" marR="0" lvl="0" indent="0" algn="l" defTabSz="914400" rtl="0" eaLnBrk="1" fontAlgn="b" latinLnBrk="0" hangingPunct="1">
                        <a:lnSpc>
                          <a:spcPts val="1900"/>
                        </a:lnSpc>
                        <a:spcBef>
                          <a:spcPts val="300"/>
                        </a:spcBef>
                        <a:spcAft>
                          <a:spcPts val="0"/>
                        </a:spcAft>
                        <a:buClrTx/>
                        <a:buSzTx/>
                        <a:buFontTx/>
                        <a:buNone/>
                        <a:tabLst/>
                        <a:defRPr/>
                      </a:pPr>
                      <a:r>
                        <a:rPr lang="en-US" sz="1100" b="1" i="0" u="none" strike="noStrike" kern="1200" dirty="0">
                          <a:solidFill>
                            <a:srgbClr val="000000"/>
                          </a:solidFill>
                          <a:effectLst/>
                          <a:latin typeface="+mn-lt"/>
                          <a:ea typeface="+mn-ea"/>
                          <a:cs typeface="Arial" panose="020B0604020202020204" pitchFamily="34" charset="0"/>
                        </a:rPr>
                        <a:t>Trends &amp; alarms</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756510122"/>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kern="1200" noProof="0" dirty="0">
                          <a:solidFill>
                            <a:srgbClr val="2D373C"/>
                          </a:solidFill>
                          <a:latin typeface="+mn-lt"/>
                          <a:ea typeface="+mn-ea"/>
                          <a:cs typeface="+mn-cs"/>
                        </a:rPr>
                        <a:t>– Trend logging / Archive</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992200979"/>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kern="1200" noProof="0" dirty="0">
                          <a:solidFill>
                            <a:srgbClr val="2D373C"/>
                          </a:solidFill>
                          <a:latin typeface="+mn-lt"/>
                          <a:ea typeface="+mn-ea"/>
                          <a:cs typeface="+mn-cs"/>
                        </a:rPr>
                        <a:t>– Alarming</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1756505896"/>
                  </a:ext>
                </a:extLst>
              </a:tr>
              <a:tr h="182974">
                <a:tc>
                  <a:txBody>
                    <a:bodyPr/>
                    <a:lstStyle/>
                    <a:p>
                      <a:pPr marL="0" marR="0" lvl="0" indent="0" algn="l" defTabSz="914400" rtl="0" eaLnBrk="1" fontAlgn="b" latinLnBrk="0" hangingPunct="1">
                        <a:lnSpc>
                          <a:spcPts val="1900"/>
                        </a:lnSpc>
                        <a:spcBef>
                          <a:spcPts val="300"/>
                        </a:spcBef>
                        <a:spcAft>
                          <a:spcPts val="0"/>
                        </a:spcAft>
                        <a:buClrTx/>
                        <a:buSzTx/>
                        <a:buFontTx/>
                        <a:buNone/>
                        <a:tabLst/>
                        <a:defRPr/>
                      </a:pPr>
                      <a:r>
                        <a:rPr lang="en-US" sz="1100" b="1" i="0" u="none" strike="noStrike" kern="1200" dirty="0">
                          <a:solidFill>
                            <a:schemeClr val="tx2">
                              <a:lumMod val="50000"/>
                              <a:lumOff val="50000"/>
                            </a:schemeClr>
                          </a:solidFill>
                          <a:effectLst/>
                          <a:latin typeface="+mn-lt"/>
                          <a:ea typeface="+mn-ea"/>
                          <a:cs typeface="Arial" panose="020B0604020202020204" pitchFamily="34" charset="0"/>
                        </a:rPr>
                        <a:t>Controller HMI</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607076487"/>
                  </a:ext>
                </a:extLst>
              </a:tr>
              <a:tr h="182974">
                <a:tc>
                  <a:txBody>
                    <a:bodyPr/>
                    <a:lstStyle/>
                    <a:p>
                      <a:pPr algn="l" fontAlgn="b"/>
                      <a:r>
                        <a:rPr lang="en-US" sz="1100" dirty="0">
                          <a:solidFill>
                            <a:schemeClr val="tx2">
                              <a:lumMod val="50000"/>
                              <a:lumOff val="50000"/>
                            </a:schemeClr>
                          </a:solidFill>
                          <a:latin typeface="+mn-lt"/>
                        </a:rPr>
                        <a:t>– </a:t>
                      </a:r>
                      <a:r>
                        <a:rPr lang="en-US" sz="1100" u="none" strike="noStrike" kern="1200" dirty="0">
                          <a:solidFill>
                            <a:schemeClr val="tx2">
                              <a:lumMod val="50000"/>
                              <a:lumOff val="50000"/>
                            </a:schemeClr>
                          </a:solidFill>
                          <a:effectLst/>
                          <a:latin typeface="+mn-lt"/>
                          <a:ea typeface="+mn-ea"/>
                          <a:cs typeface="Arial" panose="020B0604020202020204" pitchFamily="34" charset="0"/>
                        </a:rPr>
                        <a:t>Watch page elements</a:t>
                      </a:r>
                      <a:endParaRPr lang="en-US" sz="1100" b="0" i="0" u="none" strike="noStrike" dirty="0">
                        <a:solidFill>
                          <a:schemeClr val="tx2">
                            <a:lumMod val="50000"/>
                            <a:lumOff val="50000"/>
                          </a:schemeClr>
                        </a:solidFill>
                        <a:effectLst/>
                        <a:latin typeface="+mn-lt"/>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102589354"/>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mn-cs"/>
                        </a:rPr>
                        <a:t>– </a:t>
                      </a:r>
                      <a:r>
                        <a:rPr lang="en-US" sz="1100" u="none" strike="noStrike" kern="1200" noProof="0" dirty="0">
                          <a:solidFill>
                            <a:schemeClr val="tx2">
                              <a:lumMod val="50000"/>
                              <a:lumOff val="50000"/>
                            </a:schemeClr>
                          </a:solidFill>
                          <a:effectLst/>
                          <a:latin typeface="+mn-lt"/>
                          <a:ea typeface="+mn-ea"/>
                          <a:cs typeface="Arial" panose="020B0604020202020204" pitchFamily="34" charset="0"/>
                        </a:rPr>
                        <a:t>HMI file creation</a:t>
                      </a:r>
                      <a:endPar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1008773668"/>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mn-cs"/>
                        </a:rPr>
                        <a:t>– </a:t>
                      </a: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mn-ea"/>
                          <a:cs typeface="Arial" panose="020B0604020202020204" pitchFamily="34" charset="0"/>
                        </a:rPr>
                        <a:t>Security concept</a:t>
                      </a:r>
                      <a:endPar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671877292"/>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i="0" u="none" strike="noStrike" kern="1200" dirty="0">
                          <a:solidFill>
                            <a:schemeClr val="tx2">
                              <a:lumMod val="50000"/>
                              <a:lumOff val="50000"/>
                            </a:schemeClr>
                          </a:solidFill>
                          <a:effectLst/>
                          <a:latin typeface="+mn-lt"/>
                          <a:ea typeface="+mn-ea"/>
                          <a:cs typeface="Arial" panose="020B0604020202020204" pitchFamily="34" charset="0"/>
                        </a:rPr>
                        <a:t>Useful Information</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879626495"/>
                  </a:ext>
                </a:extLst>
              </a:tr>
            </a:tbl>
          </a:graphicData>
        </a:graphic>
      </p:graphicFrame>
    </p:spTree>
    <p:custDataLst>
      <p:tags r:id="rId6"/>
    </p:custDataLst>
  </p:cSld>
  <p:clrMap bg1="lt1" tx1="dk1" bg2="lt2" tx2="dk2" accent1="accent1" accent2="accent2" accent3="accent3" accent4="accent4" accent5="accent5" accent6="accent6" hlink="hlink" folHlink="folHlink"/>
  <p:sldLayoutIdLst>
    <p:sldLayoutId id="2147483693" r:id="rId1"/>
    <p:sldLayoutId id="2147483697" r:id="rId2"/>
    <p:sldLayoutId id="2147483698" r:id="rId3"/>
    <p:sldLayoutId id="2147483699" r:id="rId4"/>
  </p:sldLayoutIdLst>
  <p:hf sldNum="0" hdr="0" ftr="0" dt="0"/>
  <p:txStyles>
    <p:titleStyle>
      <a:lvl1pPr algn="l" rtl="0" eaLnBrk="1" fontAlgn="base" hangingPunct="1">
        <a:spcBef>
          <a:spcPct val="0"/>
        </a:spcBef>
        <a:spcAft>
          <a:spcPct val="0"/>
        </a:spcAft>
        <a:defRPr sz="2000" b="1">
          <a:solidFill>
            <a:schemeClr val="dk2"/>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dk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chemeClr val="accent1"/>
        </a:buClr>
        <a:buChar char="•"/>
        <a:tabLst/>
        <a:defRPr>
          <a:solidFill>
            <a:schemeClr val="dk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chemeClr val="accent1"/>
        </a:buClr>
        <a:buChar char="•"/>
        <a:tabLst/>
        <a:defRPr>
          <a:solidFill>
            <a:schemeClr val="dk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chemeClr val="accent1"/>
        </a:buClr>
        <a:buChar char="•"/>
        <a:tabLst/>
        <a:defRPr>
          <a:solidFill>
            <a:schemeClr val="dk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chemeClr val="accent1"/>
        </a:buClr>
        <a:buChar char="•"/>
        <a:tabLst/>
        <a:defRPr>
          <a:solidFill>
            <a:schemeClr val="dk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oleObject" Target="../embeddings/oleObject1.bin"/><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Climatix - Produktsortiment | Original equipment manufacturer (OEM) |  Siemens Global">
            <a:extLst>
              <a:ext uri="{FF2B5EF4-FFF2-40B4-BE49-F238E27FC236}">
                <a16:creationId xmlns:a16="http://schemas.microsoft.com/office/drawing/2014/main" id="{2BE83BA3-87B4-473E-9696-006EE4A0D06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164" r="37677"/>
          <a:stretch/>
        </p:blipFill>
        <p:spPr bwMode="auto">
          <a:xfrm>
            <a:off x="2160000" y="454634"/>
            <a:ext cx="5265867" cy="640899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1D880FF0-D7A2-436F-8597-A36DC7EBB2F8}"/>
              </a:ext>
            </a:extLst>
          </p:cNvPr>
          <p:cNvSpPr>
            <a:spLocks noChangeArrowheads="1"/>
          </p:cNvSpPr>
          <p:nvPr/>
        </p:nvSpPr>
        <p:spPr bwMode="auto">
          <a:xfrm>
            <a:off x="7460224" y="455232"/>
            <a:ext cx="4983068" cy="6408397"/>
          </a:xfrm>
          <a:prstGeom prst="rect">
            <a:avLst/>
          </a:prstGeom>
          <a:noFill/>
          <a:ln w="9525">
            <a:noFill/>
            <a:miter lim="800000"/>
            <a:headEnd/>
            <a:tailEnd/>
          </a:ln>
        </p:spPr>
        <p:txBody>
          <a:bodyPr lIns="179953" tIns="215944" rIns="395897" bIns="0"/>
          <a:lstStyle/>
          <a:p>
            <a:pPr marL="176160" indent="-176160" algn="l">
              <a:lnSpc>
                <a:spcPct val="110000"/>
              </a:lnSpc>
              <a:spcBef>
                <a:spcPts val="0"/>
              </a:spcBef>
              <a:spcAft>
                <a:spcPts val="900"/>
              </a:spcAft>
              <a:buFont typeface="Wingdings" pitchFamily="2" charset="2"/>
              <a:buChar char="§"/>
            </a:pPr>
            <a:r>
              <a:rPr lang="en-US" sz="2000" dirty="0">
                <a:solidFill>
                  <a:schemeClr val="tx1"/>
                </a:solidFill>
              </a:rPr>
              <a:t>Understand the use of </a:t>
            </a:r>
            <a:r>
              <a:rPr lang="en-US" sz="2000" b="1" dirty="0">
                <a:solidFill>
                  <a:schemeClr val="tx1"/>
                </a:solidFill>
              </a:rPr>
              <a:t>online trends </a:t>
            </a:r>
            <a:r>
              <a:rPr lang="en-US" sz="2000" dirty="0">
                <a:solidFill>
                  <a:schemeClr val="tx1"/>
                </a:solidFill>
              </a:rPr>
              <a:t>and being able to setup it up in the SCOPE tool</a:t>
            </a:r>
          </a:p>
          <a:p>
            <a:pPr marL="176160" indent="-176160" algn="l">
              <a:lnSpc>
                <a:spcPct val="110000"/>
              </a:lnSpc>
              <a:spcBef>
                <a:spcPts val="0"/>
              </a:spcBef>
              <a:spcAft>
                <a:spcPts val="900"/>
              </a:spcAft>
              <a:buFont typeface="Wingdings" pitchFamily="2" charset="2"/>
              <a:buChar char="§"/>
            </a:pPr>
            <a:r>
              <a:rPr lang="en-US" sz="2000" dirty="0">
                <a:solidFill>
                  <a:schemeClr val="tx1"/>
                </a:solidFill>
              </a:rPr>
              <a:t>Understand the use of storing historical data in the </a:t>
            </a:r>
            <a:r>
              <a:rPr lang="en-US" sz="2000" b="1" dirty="0">
                <a:solidFill>
                  <a:schemeClr val="tx1"/>
                </a:solidFill>
              </a:rPr>
              <a:t>archive</a:t>
            </a:r>
            <a:r>
              <a:rPr lang="en-US" sz="2000" dirty="0">
                <a:solidFill>
                  <a:schemeClr val="tx1"/>
                </a:solidFill>
              </a:rPr>
              <a:t> and being able to set it up in the SCOPE tool</a:t>
            </a:r>
          </a:p>
          <a:p>
            <a:pPr marL="176160" indent="-176160" algn="l">
              <a:lnSpc>
                <a:spcPct val="110000"/>
              </a:lnSpc>
              <a:spcBef>
                <a:spcPts val="0"/>
              </a:spcBef>
              <a:spcAft>
                <a:spcPts val="900"/>
              </a:spcAft>
              <a:buFont typeface="Wingdings" pitchFamily="2" charset="2"/>
              <a:buChar char="§"/>
            </a:pPr>
            <a:r>
              <a:rPr lang="en-US" sz="2000" dirty="0">
                <a:solidFill>
                  <a:schemeClr val="tx1"/>
                </a:solidFill>
              </a:rPr>
              <a:t>Understand the </a:t>
            </a:r>
            <a:r>
              <a:rPr lang="en-US" sz="2000" b="1" dirty="0">
                <a:solidFill>
                  <a:schemeClr val="tx1"/>
                </a:solidFill>
              </a:rPr>
              <a:t>alarming</a:t>
            </a:r>
            <a:r>
              <a:rPr lang="en-US" sz="2000" dirty="0">
                <a:solidFill>
                  <a:schemeClr val="tx1"/>
                </a:solidFill>
              </a:rPr>
              <a:t> concept and being able to set it up in the SAPRO tool </a:t>
            </a:r>
          </a:p>
        </p:txBody>
      </p:sp>
      <p:sp>
        <p:nvSpPr>
          <p:cNvPr id="41" name="cdtText Box 4 Id114692">
            <a:extLst>
              <a:ext uri="{FF2B5EF4-FFF2-40B4-BE49-F238E27FC236}">
                <a16:creationId xmlns:a16="http://schemas.microsoft.com/office/drawing/2014/main" id="{B4C37A5A-F98A-4E40-9DA3-A99170117D7A}"/>
              </a:ext>
            </a:extLst>
          </p:cNvPr>
          <p:cNvSpPr txBox="1">
            <a:spLocks noChangeArrowheads="1"/>
          </p:cNvSpPr>
          <p:nvPr/>
        </p:nvSpPr>
        <p:spPr bwMode="gray">
          <a:xfrm>
            <a:off x="2159999" y="0"/>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Trends, archives and alarms</a:t>
            </a:r>
          </a:p>
        </p:txBody>
      </p:sp>
      <p:sp>
        <p:nvSpPr>
          <p:cNvPr id="4" name="Title 3">
            <a:extLst>
              <a:ext uri="{FF2B5EF4-FFF2-40B4-BE49-F238E27FC236}">
                <a16:creationId xmlns:a16="http://schemas.microsoft.com/office/drawing/2014/main" id="{A762E143-596F-4131-92D5-FA6EA3FC1046}"/>
              </a:ext>
            </a:extLst>
          </p:cNvPr>
          <p:cNvSpPr>
            <a:spLocks noGrp="1"/>
          </p:cNvSpPr>
          <p:nvPr>
            <p:ph type="title"/>
          </p:nvPr>
        </p:nvSpPr>
        <p:spPr/>
        <p:txBody>
          <a:bodyPr/>
          <a:lstStyle/>
          <a:p>
            <a:r>
              <a:rPr lang="en-US"/>
              <a:t> </a:t>
            </a:r>
          </a:p>
        </p:txBody>
      </p:sp>
      <p:sp>
        <p:nvSpPr>
          <p:cNvPr id="33" name="Textfeld 337">
            <a:extLst>
              <a:ext uri="{FF2B5EF4-FFF2-40B4-BE49-F238E27FC236}">
                <a16:creationId xmlns:a16="http://schemas.microsoft.com/office/drawing/2014/main" id="{A81B02CA-9FA0-4FD4-8535-0329BCC8F0A6}"/>
              </a:ext>
            </a:extLst>
          </p:cNvPr>
          <p:cNvSpPr txBox="1"/>
          <p:nvPr/>
        </p:nvSpPr>
        <p:spPr>
          <a:xfrm>
            <a:off x="0" y="4157435"/>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dirty="0"/>
              <a:t>Trends &amp; alarms</a:t>
            </a:r>
          </a:p>
        </p:txBody>
      </p:sp>
    </p:spTree>
    <p:extLst>
      <p:ext uri="{BB962C8B-B14F-4D97-AF65-F5344CB8AC3E}">
        <p14:creationId xmlns:p14="http://schemas.microsoft.com/office/powerpoint/2010/main" val="1060112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4B7D8-0C4B-4D56-B95C-E88E6B6E7929}"/>
              </a:ext>
            </a:extLst>
          </p:cNvPr>
          <p:cNvSpPr>
            <a:spLocks noGrp="1"/>
          </p:cNvSpPr>
          <p:nvPr>
            <p:ph type="title"/>
          </p:nvPr>
        </p:nvSpPr>
        <p:spPr/>
        <p:txBody>
          <a:bodyPr/>
          <a:lstStyle/>
          <a:p>
            <a:endParaRPr lang="de-CH"/>
          </a:p>
        </p:txBody>
      </p:sp>
      <p:pic>
        <p:nvPicPr>
          <p:cNvPr id="7" name="Picture 6">
            <a:extLst>
              <a:ext uri="{FF2B5EF4-FFF2-40B4-BE49-F238E27FC236}">
                <a16:creationId xmlns:a16="http://schemas.microsoft.com/office/drawing/2014/main" id="{77BA4E8C-BDE5-4F9E-8C9B-6EF2BFC0382C}"/>
              </a:ext>
            </a:extLst>
          </p:cNvPr>
          <p:cNvPicPr>
            <a:picLocks noChangeAspect="1"/>
          </p:cNvPicPr>
          <p:nvPr/>
        </p:nvPicPr>
        <p:blipFill>
          <a:blip r:embed="rId2"/>
          <a:stretch>
            <a:fillRect/>
          </a:stretch>
        </p:blipFill>
        <p:spPr>
          <a:xfrm>
            <a:off x="2267470" y="575084"/>
            <a:ext cx="4530248" cy="4343497"/>
          </a:xfrm>
          <a:prstGeom prst="rect">
            <a:avLst/>
          </a:prstGeom>
        </p:spPr>
      </p:pic>
      <p:pic>
        <p:nvPicPr>
          <p:cNvPr id="9" name="Picture 8">
            <a:extLst>
              <a:ext uri="{FF2B5EF4-FFF2-40B4-BE49-F238E27FC236}">
                <a16:creationId xmlns:a16="http://schemas.microsoft.com/office/drawing/2014/main" id="{2E47C6E9-0B2D-43CB-BB92-59FC953AA001}"/>
              </a:ext>
            </a:extLst>
          </p:cNvPr>
          <p:cNvPicPr>
            <a:picLocks noChangeAspect="1"/>
          </p:cNvPicPr>
          <p:nvPr/>
        </p:nvPicPr>
        <p:blipFill>
          <a:blip r:embed="rId3"/>
          <a:stretch>
            <a:fillRect/>
          </a:stretch>
        </p:blipFill>
        <p:spPr>
          <a:xfrm>
            <a:off x="7041842" y="575084"/>
            <a:ext cx="5028238" cy="4477106"/>
          </a:xfrm>
          <a:prstGeom prst="rect">
            <a:avLst/>
          </a:prstGeom>
        </p:spPr>
      </p:pic>
      <p:sp>
        <p:nvSpPr>
          <p:cNvPr id="6" name="cdtText Box 4 Id114692">
            <a:extLst>
              <a:ext uri="{FF2B5EF4-FFF2-40B4-BE49-F238E27FC236}">
                <a16:creationId xmlns:a16="http://schemas.microsoft.com/office/drawing/2014/main" id="{A097853C-E432-418B-9375-8CAF4B1A7DE3}"/>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Alarm enabling settings</a:t>
            </a:r>
          </a:p>
        </p:txBody>
      </p:sp>
      <p:sp>
        <p:nvSpPr>
          <p:cNvPr id="8" name="Rectangle 3">
            <a:extLst>
              <a:ext uri="{FF2B5EF4-FFF2-40B4-BE49-F238E27FC236}">
                <a16:creationId xmlns:a16="http://schemas.microsoft.com/office/drawing/2014/main" id="{3A0F807B-08AE-46F1-ACF0-21B750093F26}"/>
              </a:ext>
            </a:extLst>
          </p:cNvPr>
          <p:cNvSpPr txBox="1">
            <a:spLocks noChangeArrowheads="1"/>
          </p:cNvSpPr>
          <p:nvPr/>
        </p:nvSpPr>
        <p:spPr bwMode="auto">
          <a:xfrm>
            <a:off x="2267470" y="5094383"/>
            <a:ext cx="9802610" cy="5764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00000"/>
              </a:lnSpc>
            </a:pPr>
            <a:r>
              <a:rPr lang="en-US" sz="1800" dirty="0">
                <a:solidFill>
                  <a:srgbClr val="000000"/>
                </a:solidFill>
                <a:effectLst/>
                <a:latin typeface="Arial" panose="020B0604020202020204" pitchFamily="34" charset="0"/>
                <a:ea typeface="DengXian" panose="02010600030101010101" pitchFamily="2" charset="-122"/>
              </a:rPr>
              <a:t>The </a:t>
            </a:r>
            <a:r>
              <a:rPr lang="en-US" sz="1800" dirty="0" err="1">
                <a:solidFill>
                  <a:srgbClr val="000000"/>
                </a:solidFill>
                <a:effectLst/>
                <a:latin typeface="Arial" panose="020B0604020202020204" pitchFamily="34" charset="0"/>
                <a:ea typeface="DengXian" panose="02010600030101010101" pitchFamily="2" charset="-122"/>
              </a:rPr>
              <a:t>behaviour</a:t>
            </a:r>
            <a:r>
              <a:rPr lang="en-US" sz="1800" dirty="0">
                <a:solidFill>
                  <a:srgbClr val="000000"/>
                </a:solidFill>
                <a:effectLst/>
                <a:latin typeface="Arial" panose="020B0604020202020204" pitchFamily="34" charset="0"/>
                <a:ea typeface="DengXian" panose="02010600030101010101" pitchFamily="2" charset="-122"/>
              </a:rPr>
              <a:t> just explained can be set individually for each automation object, by enabling or disabling the “</a:t>
            </a:r>
            <a:r>
              <a:rPr lang="en-US" sz="1800" dirty="0" err="1">
                <a:solidFill>
                  <a:srgbClr val="000000"/>
                </a:solidFill>
                <a:effectLst/>
                <a:latin typeface="Arial" panose="020B0604020202020204" pitchFamily="34" charset="0"/>
                <a:ea typeface="DengXian" panose="02010600030101010101" pitchFamily="2" charset="-122"/>
              </a:rPr>
              <a:t>enblOffNormal</a:t>
            </a:r>
            <a:r>
              <a:rPr lang="en-US" sz="1800" dirty="0">
                <a:solidFill>
                  <a:srgbClr val="000000"/>
                </a:solidFill>
                <a:effectLst/>
                <a:latin typeface="Arial" panose="020B0604020202020204" pitchFamily="34" charset="0"/>
                <a:ea typeface="DengXian" panose="02010600030101010101" pitchFamily="2" charset="-122"/>
              </a:rPr>
              <a:t>” or “</a:t>
            </a:r>
            <a:r>
              <a:rPr lang="en-US" sz="1800" dirty="0" err="1">
                <a:solidFill>
                  <a:srgbClr val="000000"/>
                </a:solidFill>
                <a:effectLst/>
                <a:latin typeface="Arial" panose="020B0604020202020204" pitchFamily="34" charset="0"/>
                <a:ea typeface="DengXian" panose="02010600030101010101" pitchFamily="2" charset="-122"/>
              </a:rPr>
              <a:t>enblfault</a:t>
            </a:r>
            <a:r>
              <a:rPr lang="en-US" sz="1800" dirty="0">
                <a:solidFill>
                  <a:srgbClr val="000000"/>
                </a:solidFill>
                <a:effectLst/>
                <a:latin typeface="Arial" panose="020B0604020202020204" pitchFamily="34" charset="0"/>
                <a:ea typeface="DengXian" panose="02010600030101010101" pitchFamily="2" charset="-122"/>
              </a:rPr>
              <a:t>” event.</a:t>
            </a:r>
            <a:endParaRPr lang="en-US" sz="1800" dirty="0">
              <a:solidFill>
                <a:srgbClr val="000000"/>
              </a:solidFill>
              <a:effectLst/>
              <a:latin typeface="Arial" panose="020B0604020202020204" pitchFamily="34" charset="0"/>
              <a:ea typeface="SimSun" panose="02010600030101010101" pitchFamily="2" charset="-122"/>
            </a:endParaRPr>
          </a:p>
          <a:p>
            <a:pPr lvl="2">
              <a:buFont typeface="Wingdings" panose="05000000000000000000" pitchFamily="2" charset="2"/>
              <a:buChar char="§"/>
              <a:defRPr/>
            </a:pPr>
            <a:endParaRPr lang="en-US" sz="1600" dirty="0">
              <a:solidFill>
                <a:srgbClr val="000000"/>
              </a:solidFill>
            </a:endParaRPr>
          </a:p>
        </p:txBody>
      </p:sp>
      <p:sp>
        <p:nvSpPr>
          <p:cNvPr id="10" name="Rectangle 3">
            <a:extLst>
              <a:ext uri="{FF2B5EF4-FFF2-40B4-BE49-F238E27FC236}">
                <a16:creationId xmlns:a16="http://schemas.microsoft.com/office/drawing/2014/main" id="{4A66B3DC-5784-48A3-A689-AC820E5BD404}"/>
              </a:ext>
            </a:extLst>
          </p:cNvPr>
          <p:cNvSpPr txBox="1">
            <a:spLocks noChangeArrowheads="1"/>
          </p:cNvSpPr>
          <p:nvPr/>
        </p:nvSpPr>
        <p:spPr bwMode="auto">
          <a:xfrm>
            <a:off x="2234270" y="5919935"/>
            <a:ext cx="7747339" cy="43625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88" lvl="1" indent="0">
              <a:buClrTx/>
              <a:buNone/>
            </a:pPr>
            <a:r>
              <a:rPr lang="en-US" altLang="en-US" sz="1600" kern="0" dirty="0"/>
              <a:t>Once the tick box is selected, the event will trigger an alarm</a:t>
            </a:r>
          </a:p>
        </p:txBody>
      </p:sp>
      <p:sp>
        <p:nvSpPr>
          <p:cNvPr id="11" name="Textfeld 337">
            <a:extLst>
              <a:ext uri="{FF2B5EF4-FFF2-40B4-BE49-F238E27FC236}">
                <a16:creationId xmlns:a16="http://schemas.microsoft.com/office/drawing/2014/main" id="{5E40C7C1-6795-4B0D-95D9-4733E677C79C}"/>
              </a:ext>
            </a:extLst>
          </p:cNvPr>
          <p:cNvSpPr txBox="1"/>
          <p:nvPr/>
        </p:nvSpPr>
        <p:spPr>
          <a:xfrm>
            <a:off x="-2541" y="4636355"/>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Alarming</a:t>
            </a:r>
            <a:endParaRPr lang="en-US" sz="1100" b="0" u="none" strike="noStrike" kern="1200" dirty="0">
              <a:effectLst/>
              <a:latin typeface="+mj-lt"/>
              <a:ea typeface="+mn-ea"/>
            </a:endParaRPr>
          </a:p>
        </p:txBody>
      </p:sp>
      <p:sp>
        <p:nvSpPr>
          <p:cNvPr id="3" name="Rechteck: abgerundete Ecken 2">
            <a:extLst>
              <a:ext uri="{FF2B5EF4-FFF2-40B4-BE49-F238E27FC236}">
                <a16:creationId xmlns:a16="http://schemas.microsoft.com/office/drawing/2014/main" id="{C25BD9AC-8EF3-4D9F-8380-694F3DCC500D}"/>
              </a:ext>
            </a:extLst>
          </p:cNvPr>
          <p:cNvSpPr/>
          <p:nvPr/>
        </p:nvSpPr>
        <p:spPr bwMode="auto">
          <a:xfrm>
            <a:off x="2583180" y="3505200"/>
            <a:ext cx="952500" cy="335280"/>
          </a:xfrm>
          <a:prstGeom prst="roundRect">
            <a:avLst/>
          </a:prstGeom>
          <a:noFill/>
          <a:ln w="57150">
            <a:solidFill>
              <a:srgbClr val="0080B6"/>
            </a:solid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12" name="Rechteck: abgerundete Ecken 11">
            <a:extLst>
              <a:ext uri="{FF2B5EF4-FFF2-40B4-BE49-F238E27FC236}">
                <a16:creationId xmlns:a16="http://schemas.microsoft.com/office/drawing/2014/main" id="{F48B559F-E461-438D-81D0-7DB4B3B3B1A8}"/>
              </a:ext>
            </a:extLst>
          </p:cNvPr>
          <p:cNvSpPr/>
          <p:nvPr/>
        </p:nvSpPr>
        <p:spPr bwMode="auto">
          <a:xfrm>
            <a:off x="9135745" y="3713480"/>
            <a:ext cx="952500" cy="335280"/>
          </a:xfrm>
          <a:prstGeom prst="roundRect">
            <a:avLst/>
          </a:prstGeom>
          <a:noFill/>
          <a:ln w="57150">
            <a:solidFill>
              <a:srgbClr val="0080B6"/>
            </a:solid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4" name="Pfeil: nach rechts 3">
            <a:extLst>
              <a:ext uri="{FF2B5EF4-FFF2-40B4-BE49-F238E27FC236}">
                <a16:creationId xmlns:a16="http://schemas.microsoft.com/office/drawing/2014/main" id="{C912BE9B-6CC5-49CB-8BA9-39581B1B4CB4}"/>
              </a:ext>
            </a:extLst>
          </p:cNvPr>
          <p:cNvSpPr/>
          <p:nvPr/>
        </p:nvSpPr>
        <p:spPr bwMode="auto">
          <a:xfrm>
            <a:off x="2680855" y="2317173"/>
            <a:ext cx="529936" cy="249382"/>
          </a:xfrm>
          <a:prstGeom prst="rightArrow">
            <a:avLst/>
          </a:prstGeom>
          <a:solidFill>
            <a:srgbClr val="0080B6"/>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13" name="Pfeil: nach rechts 12">
            <a:extLst>
              <a:ext uri="{FF2B5EF4-FFF2-40B4-BE49-F238E27FC236}">
                <a16:creationId xmlns:a16="http://schemas.microsoft.com/office/drawing/2014/main" id="{8DA47158-A553-4B55-A3CF-879816234FCD}"/>
              </a:ext>
            </a:extLst>
          </p:cNvPr>
          <p:cNvSpPr/>
          <p:nvPr/>
        </p:nvSpPr>
        <p:spPr bwMode="auto">
          <a:xfrm>
            <a:off x="6681167" y="2497450"/>
            <a:ext cx="529936" cy="249382"/>
          </a:xfrm>
          <a:prstGeom prst="rightArrow">
            <a:avLst/>
          </a:prstGeom>
          <a:solidFill>
            <a:srgbClr val="0080B6"/>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Tree>
    <p:extLst>
      <p:ext uri="{BB962C8B-B14F-4D97-AF65-F5344CB8AC3E}">
        <p14:creationId xmlns:p14="http://schemas.microsoft.com/office/powerpoint/2010/main" val="4120696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br>
              <a:rPr lang="en-US" noProof="0"/>
            </a:br>
            <a:endParaRPr lang="en-US" noProof="0"/>
          </a:p>
        </p:txBody>
      </p:sp>
      <p:sp>
        <p:nvSpPr>
          <p:cNvPr id="3" name="Rectangle 3">
            <a:extLst>
              <a:ext uri="{FF2B5EF4-FFF2-40B4-BE49-F238E27FC236}">
                <a16:creationId xmlns:a16="http://schemas.microsoft.com/office/drawing/2014/main" id="{50E17820-B62F-4719-80D9-FEC26EF1D72C}"/>
              </a:ext>
            </a:extLst>
          </p:cNvPr>
          <p:cNvSpPr txBox="1">
            <a:spLocks noChangeArrowheads="1"/>
          </p:cNvSpPr>
          <p:nvPr/>
        </p:nvSpPr>
        <p:spPr bwMode="auto">
          <a:xfrm>
            <a:off x="8462566" y="678957"/>
            <a:ext cx="3366807" cy="3134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buFont typeface="Wingdings" panose="05000000000000000000" pitchFamily="2" charset="2"/>
              <a:buChar char="§"/>
            </a:pPr>
            <a:r>
              <a:rPr lang="en-US" altLang="en-US" sz="1600" kern="0" dirty="0"/>
              <a:t>Sometimes it is necessarily having a time delay between the present value and alarm generation:</a:t>
            </a:r>
          </a:p>
          <a:p>
            <a:pPr lvl="3">
              <a:buFont typeface="Wingdings" panose="05000000000000000000" pitchFamily="2" charset="2"/>
              <a:buChar char="§"/>
            </a:pPr>
            <a:r>
              <a:rPr lang="en-US" altLang="en-US" sz="1600" kern="0" dirty="0"/>
              <a:t>Unit start up.</a:t>
            </a:r>
          </a:p>
          <a:p>
            <a:pPr lvl="3">
              <a:buFont typeface="Wingdings" panose="05000000000000000000" pitchFamily="2" charset="2"/>
              <a:buChar char="§"/>
            </a:pPr>
            <a:r>
              <a:rPr lang="en-US" altLang="en-US" sz="1600" kern="0" dirty="0"/>
              <a:t>Some instability (flutter).</a:t>
            </a:r>
          </a:p>
          <a:p>
            <a:pPr lvl="3">
              <a:buFont typeface="Wingdings" panose="05000000000000000000" pitchFamily="2" charset="2"/>
              <a:buChar char="§"/>
            </a:pPr>
            <a:endParaRPr lang="en-US" altLang="en-US" sz="1600" kern="0" dirty="0"/>
          </a:p>
          <a:p>
            <a:pPr marL="182508" lvl="3" indent="-182508">
              <a:buFont typeface="Wingdings" panose="05000000000000000000" pitchFamily="2" charset="2"/>
              <a:buChar char="§"/>
            </a:pPr>
            <a:r>
              <a:rPr lang="en-US" altLang="en-US" sz="1600" kern="0" dirty="0"/>
              <a:t>Likewise, there might be a need to have a  time delay between present value and alarm goes to normal.</a:t>
            </a:r>
          </a:p>
        </p:txBody>
      </p:sp>
      <p:grpSp>
        <p:nvGrpSpPr>
          <p:cNvPr id="4" name="Group 3">
            <a:extLst>
              <a:ext uri="{FF2B5EF4-FFF2-40B4-BE49-F238E27FC236}">
                <a16:creationId xmlns:a16="http://schemas.microsoft.com/office/drawing/2014/main" id="{9591BF25-6260-4F50-8819-B87FDCC8F156}"/>
              </a:ext>
            </a:extLst>
          </p:cNvPr>
          <p:cNvGrpSpPr/>
          <p:nvPr/>
        </p:nvGrpSpPr>
        <p:grpSpPr>
          <a:xfrm>
            <a:off x="2256861" y="3363005"/>
            <a:ext cx="9490693" cy="3114321"/>
            <a:chOff x="309564" y="3824288"/>
            <a:chExt cx="7600185" cy="2493962"/>
          </a:xfrm>
        </p:grpSpPr>
        <p:sp>
          <p:nvSpPr>
            <p:cNvPr id="5" name="Text Box 16">
              <a:extLst>
                <a:ext uri="{FF2B5EF4-FFF2-40B4-BE49-F238E27FC236}">
                  <a16:creationId xmlns:a16="http://schemas.microsoft.com/office/drawing/2014/main" id="{618BC5BB-E743-491A-B96D-A786D4047254}"/>
                </a:ext>
              </a:extLst>
            </p:cNvPr>
            <p:cNvSpPr txBox="1">
              <a:spLocks noChangeArrowheads="1"/>
            </p:cNvSpPr>
            <p:nvPr/>
          </p:nvSpPr>
          <p:spPr bwMode="auto">
            <a:xfrm>
              <a:off x="6119352" y="5380415"/>
              <a:ext cx="1790397" cy="505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spcBef>
                  <a:spcPct val="50000"/>
                </a:spcBef>
                <a:buFontTx/>
                <a:buNone/>
              </a:pPr>
              <a:r>
                <a:rPr lang="en-GB" altLang="en-US" sz="1400" b="1" dirty="0" err="1">
                  <a:latin typeface="Arial Unicode MS" panose="020B0604020202020204" pitchFamily="34" charset="-128"/>
                  <a:ea typeface="Arial Unicode MS" panose="020B0604020202020204" pitchFamily="34" charset="-128"/>
                  <a:cs typeface="Arial Unicode MS" panose="020B0604020202020204" pitchFamily="34" charset="-128"/>
                </a:rPr>
                <a:t>OffNormal</a:t>
              </a:r>
              <a:r>
                <a:rPr lang="en-GB" altLang="en-US" sz="1400" b="1" dirty="0">
                  <a:latin typeface="Arial Unicode MS" panose="020B0604020202020204" pitchFamily="34" charset="-128"/>
                  <a:ea typeface="Arial Unicode MS" panose="020B0604020202020204" pitchFamily="34" charset="-128"/>
                  <a:cs typeface="Arial Unicode MS" panose="020B0604020202020204" pitchFamily="34" charset="-128"/>
                </a:rPr>
                <a:t> = Alarm</a:t>
              </a:r>
            </a:p>
            <a:p>
              <a:pPr>
                <a:spcBef>
                  <a:spcPct val="50000"/>
                </a:spcBef>
                <a:buFontTx/>
                <a:buNone/>
              </a:pPr>
              <a:r>
                <a:rPr lang="de-CH" altLang="en-US" sz="1400" b="1" dirty="0">
                  <a:latin typeface="Arial Unicode MS" panose="020B0604020202020204" pitchFamily="34" charset="-128"/>
                  <a:ea typeface="Arial Unicode MS" panose="020B0604020202020204" pitchFamily="34" charset="-128"/>
                  <a:cs typeface="Arial Unicode MS" panose="020B0604020202020204" pitchFamily="34" charset="-128"/>
                </a:rPr>
                <a:t>  O</a:t>
              </a:r>
              <a:r>
                <a:rPr lang="en-GB" altLang="en-US" sz="1400" b="1" dirty="0" err="1">
                  <a:latin typeface="Arial Unicode MS" panose="020B0604020202020204" pitchFamily="34" charset="-128"/>
                  <a:ea typeface="Arial Unicode MS" panose="020B0604020202020204" pitchFamily="34" charset="-128"/>
                  <a:cs typeface="Arial Unicode MS" panose="020B0604020202020204" pitchFamily="34" charset="-128"/>
                </a:rPr>
                <a:t>ffNormal</a:t>
              </a:r>
              <a:r>
                <a:rPr lang="en-GB" altLang="en-US" sz="1400" b="1" dirty="0">
                  <a:latin typeface="Arial Unicode MS" panose="020B0604020202020204" pitchFamily="34" charset="-128"/>
                  <a:ea typeface="Arial Unicode MS" panose="020B0604020202020204" pitchFamily="34" charset="-128"/>
                  <a:cs typeface="Arial Unicode MS" panose="020B0604020202020204" pitchFamily="34" charset="-128"/>
                </a:rPr>
                <a:t> = Normal</a:t>
              </a:r>
              <a:endParaRPr lang="de-CH" altLang="en-US" sz="1400" b="1" dirty="0">
                <a:latin typeface="Arial Unicode MS" panose="020B0604020202020204" pitchFamily="34" charset="-128"/>
                <a:ea typeface="Arial Unicode MS" panose="020B0604020202020204" pitchFamily="34" charset="-128"/>
                <a:cs typeface="Arial Unicode MS" panose="020B0604020202020204" pitchFamily="34" charset="-128"/>
              </a:endParaRPr>
            </a:p>
          </p:txBody>
        </p:sp>
        <p:grpSp>
          <p:nvGrpSpPr>
            <p:cNvPr id="6" name="Group 83">
              <a:extLst>
                <a:ext uri="{FF2B5EF4-FFF2-40B4-BE49-F238E27FC236}">
                  <a16:creationId xmlns:a16="http://schemas.microsoft.com/office/drawing/2014/main" id="{BF7FB7FA-2F26-4DBA-9860-AFD51E61E3F3}"/>
                </a:ext>
              </a:extLst>
            </p:cNvPr>
            <p:cNvGrpSpPr>
              <a:grpSpLocks/>
            </p:cNvGrpSpPr>
            <p:nvPr/>
          </p:nvGrpSpPr>
          <p:grpSpPr bwMode="auto">
            <a:xfrm>
              <a:off x="309564" y="3824288"/>
              <a:ext cx="6242052" cy="2493962"/>
              <a:chOff x="195" y="2409"/>
              <a:chExt cx="3932" cy="1571"/>
            </a:xfrm>
          </p:grpSpPr>
          <p:sp>
            <p:nvSpPr>
              <p:cNvPr id="7" name="Rectangle 39">
                <a:extLst>
                  <a:ext uri="{FF2B5EF4-FFF2-40B4-BE49-F238E27FC236}">
                    <a16:creationId xmlns:a16="http://schemas.microsoft.com/office/drawing/2014/main" id="{5AB10D47-02AA-4FF5-87A3-8DFB1DCE6F19}"/>
                  </a:ext>
                </a:extLst>
              </p:cNvPr>
              <p:cNvSpPr>
                <a:spLocks noChangeArrowheads="1"/>
              </p:cNvSpPr>
              <p:nvPr/>
            </p:nvSpPr>
            <p:spPr bwMode="auto">
              <a:xfrm>
                <a:off x="816" y="3438"/>
                <a:ext cx="1451" cy="285"/>
              </a:xfrm>
              <a:prstGeom prst="rect">
                <a:avLst/>
              </a:prstGeom>
              <a:solidFill>
                <a:srgbClr val="00FF00"/>
              </a:solidFill>
              <a:ln>
                <a:noFill/>
              </a:ln>
              <a:extLst>
                <a:ext uri="{91240B29-F687-4F45-9708-019B960494DF}">
                  <a14:hiddenLine xmlns:a14="http://schemas.microsoft.com/office/drawing/2010/main" w="28575" algn="ctr">
                    <a:solidFill>
                      <a:srgbClr val="000000"/>
                    </a:solidFill>
                    <a:miter lim="800000"/>
                    <a:headEnd/>
                    <a:tailEnd/>
                  </a14:hiddenLine>
                </a:ext>
              </a:extLst>
            </p:spPr>
            <p:txBody>
              <a:bodyPr wrap="none" lIns="0" tIns="0" rIns="0" bIns="0" anchor="ct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ctr" eaLnBrk="1" hangingPunct="1">
                  <a:spcAft>
                    <a:spcPct val="50000"/>
                  </a:spcAft>
                  <a:buFontTx/>
                  <a:buNone/>
                </a:pPr>
                <a:endParaRPr lang="en-US" altLang="en-US" sz="1400"/>
              </a:p>
            </p:txBody>
          </p:sp>
          <p:sp>
            <p:nvSpPr>
              <p:cNvPr id="8" name="Rectangle 40">
                <a:extLst>
                  <a:ext uri="{FF2B5EF4-FFF2-40B4-BE49-F238E27FC236}">
                    <a16:creationId xmlns:a16="http://schemas.microsoft.com/office/drawing/2014/main" id="{CA56E518-C201-4A13-991D-CE91B77882D2}"/>
                  </a:ext>
                </a:extLst>
              </p:cNvPr>
              <p:cNvSpPr>
                <a:spLocks noChangeArrowheads="1"/>
              </p:cNvSpPr>
              <p:nvPr/>
            </p:nvSpPr>
            <p:spPr bwMode="auto">
              <a:xfrm>
                <a:off x="2267" y="3510"/>
                <a:ext cx="1588" cy="15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ctr" eaLnBrk="1" hangingPunct="1">
                  <a:spcAft>
                    <a:spcPct val="50000"/>
                  </a:spcAft>
                  <a:buFontTx/>
                  <a:buNone/>
                </a:pPr>
                <a:endParaRPr lang="en-US" altLang="en-US" sz="1400"/>
              </a:p>
            </p:txBody>
          </p:sp>
          <p:sp>
            <p:nvSpPr>
              <p:cNvPr id="9" name="Line 42">
                <a:extLst>
                  <a:ext uri="{FF2B5EF4-FFF2-40B4-BE49-F238E27FC236}">
                    <a16:creationId xmlns:a16="http://schemas.microsoft.com/office/drawing/2014/main" id="{99FDCE22-057F-4B3B-8370-831D097A89A1}"/>
                  </a:ext>
                </a:extLst>
              </p:cNvPr>
              <p:cNvSpPr>
                <a:spLocks noChangeShapeType="1"/>
              </p:cNvSpPr>
              <p:nvPr/>
            </p:nvSpPr>
            <p:spPr bwMode="auto">
              <a:xfrm flipH="1">
                <a:off x="816" y="2409"/>
                <a:ext cx="0" cy="127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10" name="Line 43">
                <a:extLst>
                  <a:ext uri="{FF2B5EF4-FFF2-40B4-BE49-F238E27FC236}">
                    <a16:creationId xmlns:a16="http://schemas.microsoft.com/office/drawing/2014/main" id="{8758E71B-5C55-46CE-9B4B-FDC1E2DFEDD2}"/>
                  </a:ext>
                </a:extLst>
              </p:cNvPr>
              <p:cNvSpPr>
                <a:spLocks noChangeShapeType="1"/>
              </p:cNvSpPr>
              <p:nvPr/>
            </p:nvSpPr>
            <p:spPr bwMode="auto">
              <a:xfrm>
                <a:off x="777" y="3730"/>
                <a:ext cx="3350" cy="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11" name="Line 44">
                <a:extLst>
                  <a:ext uri="{FF2B5EF4-FFF2-40B4-BE49-F238E27FC236}">
                    <a16:creationId xmlns:a16="http://schemas.microsoft.com/office/drawing/2014/main" id="{5B3BF409-E605-4428-89F8-A53420CCF75B}"/>
                  </a:ext>
                </a:extLst>
              </p:cNvPr>
              <p:cNvSpPr>
                <a:spLocks noChangeShapeType="1"/>
              </p:cNvSpPr>
              <p:nvPr/>
            </p:nvSpPr>
            <p:spPr bwMode="auto">
              <a:xfrm>
                <a:off x="821" y="2807"/>
                <a:ext cx="264" cy="0"/>
              </a:xfrm>
              <a:prstGeom prst="line">
                <a:avLst/>
              </a:prstGeom>
              <a:noFill/>
              <a:ln w="38100">
                <a:solidFill>
                  <a:srgbClr val="3366FF"/>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12" name="Line 45">
                <a:extLst>
                  <a:ext uri="{FF2B5EF4-FFF2-40B4-BE49-F238E27FC236}">
                    <a16:creationId xmlns:a16="http://schemas.microsoft.com/office/drawing/2014/main" id="{A51C231D-74D2-432F-ADBF-C5279059D1EF}"/>
                  </a:ext>
                </a:extLst>
              </p:cNvPr>
              <p:cNvSpPr>
                <a:spLocks noChangeShapeType="1"/>
              </p:cNvSpPr>
              <p:nvPr/>
            </p:nvSpPr>
            <p:spPr bwMode="auto">
              <a:xfrm>
                <a:off x="821" y="2976"/>
                <a:ext cx="0" cy="48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13" name="Line 46">
                <a:extLst>
                  <a:ext uri="{FF2B5EF4-FFF2-40B4-BE49-F238E27FC236}">
                    <a16:creationId xmlns:a16="http://schemas.microsoft.com/office/drawing/2014/main" id="{8D32599D-094A-41DB-85DB-A9E16CD8C0DF}"/>
                  </a:ext>
                </a:extLst>
              </p:cNvPr>
              <p:cNvSpPr>
                <a:spLocks noChangeShapeType="1"/>
              </p:cNvSpPr>
              <p:nvPr/>
            </p:nvSpPr>
            <p:spPr bwMode="auto">
              <a:xfrm>
                <a:off x="821" y="3527"/>
                <a:ext cx="0" cy="20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14" name="Line 47">
                <a:extLst>
                  <a:ext uri="{FF2B5EF4-FFF2-40B4-BE49-F238E27FC236}">
                    <a16:creationId xmlns:a16="http://schemas.microsoft.com/office/drawing/2014/main" id="{A8F2A8ED-294C-4825-8FF9-5178D04D0243}"/>
                  </a:ext>
                </a:extLst>
              </p:cNvPr>
              <p:cNvSpPr>
                <a:spLocks noChangeShapeType="1"/>
              </p:cNvSpPr>
              <p:nvPr/>
            </p:nvSpPr>
            <p:spPr bwMode="auto">
              <a:xfrm>
                <a:off x="1306" y="2807"/>
                <a:ext cx="265" cy="0"/>
              </a:xfrm>
              <a:prstGeom prst="line">
                <a:avLst/>
              </a:prstGeom>
              <a:noFill/>
              <a:ln w="38100">
                <a:solidFill>
                  <a:srgbClr val="3333FF"/>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15" name="Line 48">
                <a:extLst>
                  <a:ext uri="{FF2B5EF4-FFF2-40B4-BE49-F238E27FC236}">
                    <a16:creationId xmlns:a16="http://schemas.microsoft.com/office/drawing/2014/main" id="{530009EE-7CB0-451D-AA25-05A4A1EB4D08}"/>
                  </a:ext>
                </a:extLst>
              </p:cNvPr>
              <p:cNvSpPr>
                <a:spLocks noChangeShapeType="1"/>
              </p:cNvSpPr>
              <p:nvPr/>
            </p:nvSpPr>
            <p:spPr bwMode="auto">
              <a:xfrm flipV="1">
                <a:off x="2902" y="2562"/>
                <a:ext cx="0" cy="245"/>
              </a:xfrm>
              <a:prstGeom prst="line">
                <a:avLst/>
              </a:prstGeom>
              <a:noFill/>
              <a:ln w="38100">
                <a:solidFill>
                  <a:srgbClr val="3333FF"/>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16" name="Line 49">
                <a:extLst>
                  <a:ext uri="{FF2B5EF4-FFF2-40B4-BE49-F238E27FC236}">
                    <a16:creationId xmlns:a16="http://schemas.microsoft.com/office/drawing/2014/main" id="{96AAD7B2-D3CF-4E82-B272-37975E856803}"/>
                  </a:ext>
                </a:extLst>
              </p:cNvPr>
              <p:cNvSpPr>
                <a:spLocks noChangeShapeType="1"/>
              </p:cNvSpPr>
              <p:nvPr/>
            </p:nvSpPr>
            <p:spPr bwMode="auto">
              <a:xfrm flipV="1">
                <a:off x="2902" y="2568"/>
                <a:ext cx="227" cy="0"/>
              </a:xfrm>
              <a:prstGeom prst="line">
                <a:avLst/>
              </a:prstGeom>
              <a:noFill/>
              <a:ln w="38100">
                <a:solidFill>
                  <a:srgbClr val="3333FF"/>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17" name="Line 50">
                <a:extLst>
                  <a:ext uri="{FF2B5EF4-FFF2-40B4-BE49-F238E27FC236}">
                    <a16:creationId xmlns:a16="http://schemas.microsoft.com/office/drawing/2014/main" id="{3A114B16-487C-433B-83D9-39CC6A8A034D}"/>
                  </a:ext>
                </a:extLst>
              </p:cNvPr>
              <p:cNvSpPr>
                <a:spLocks noChangeShapeType="1"/>
              </p:cNvSpPr>
              <p:nvPr/>
            </p:nvSpPr>
            <p:spPr bwMode="auto">
              <a:xfrm flipV="1">
                <a:off x="1085" y="2562"/>
                <a:ext cx="0" cy="245"/>
              </a:xfrm>
              <a:prstGeom prst="line">
                <a:avLst/>
              </a:prstGeom>
              <a:noFill/>
              <a:ln w="38100">
                <a:solidFill>
                  <a:srgbClr val="3333FF"/>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18" name="Line 51">
                <a:extLst>
                  <a:ext uri="{FF2B5EF4-FFF2-40B4-BE49-F238E27FC236}">
                    <a16:creationId xmlns:a16="http://schemas.microsoft.com/office/drawing/2014/main" id="{DC1736D0-D716-4511-8A96-89D4F48DB159}"/>
                  </a:ext>
                </a:extLst>
              </p:cNvPr>
              <p:cNvSpPr>
                <a:spLocks noChangeShapeType="1"/>
              </p:cNvSpPr>
              <p:nvPr/>
            </p:nvSpPr>
            <p:spPr bwMode="auto">
              <a:xfrm>
                <a:off x="1085" y="2562"/>
                <a:ext cx="221" cy="0"/>
              </a:xfrm>
              <a:prstGeom prst="line">
                <a:avLst/>
              </a:prstGeom>
              <a:noFill/>
              <a:ln w="38100">
                <a:solidFill>
                  <a:srgbClr val="3333FF"/>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19" name="Line 52">
                <a:extLst>
                  <a:ext uri="{FF2B5EF4-FFF2-40B4-BE49-F238E27FC236}">
                    <a16:creationId xmlns:a16="http://schemas.microsoft.com/office/drawing/2014/main" id="{A08CA6B0-AFFD-4184-A0E3-26A6E571994A}"/>
                  </a:ext>
                </a:extLst>
              </p:cNvPr>
              <p:cNvSpPr>
                <a:spLocks noChangeShapeType="1"/>
              </p:cNvSpPr>
              <p:nvPr/>
            </p:nvSpPr>
            <p:spPr bwMode="auto">
              <a:xfrm flipV="1">
                <a:off x="1306" y="2562"/>
                <a:ext cx="0" cy="245"/>
              </a:xfrm>
              <a:prstGeom prst="line">
                <a:avLst/>
              </a:prstGeom>
              <a:noFill/>
              <a:ln w="38100">
                <a:solidFill>
                  <a:srgbClr val="3333FF"/>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20" name="Line 53">
                <a:extLst>
                  <a:ext uri="{FF2B5EF4-FFF2-40B4-BE49-F238E27FC236}">
                    <a16:creationId xmlns:a16="http://schemas.microsoft.com/office/drawing/2014/main" id="{17FCB28D-8E03-4803-BF92-671CD3D175E7}"/>
                  </a:ext>
                </a:extLst>
              </p:cNvPr>
              <p:cNvSpPr>
                <a:spLocks noChangeShapeType="1"/>
              </p:cNvSpPr>
              <p:nvPr/>
            </p:nvSpPr>
            <p:spPr bwMode="auto">
              <a:xfrm flipV="1">
                <a:off x="1571" y="2562"/>
                <a:ext cx="0" cy="245"/>
              </a:xfrm>
              <a:prstGeom prst="line">
                <a:avLst/>
              </a:prstGeom>
              <a:noFill/>
              <a:ln w="38100">
                <a:solidFill>
                  <a:srgbClr val="3366FF"/>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21" name="Line 54">
                <a:extLst>
                  <a:ext uri="{FF2B5EF4-FFF2-40B4-BE49-F238E27FC236}">
                    <a16:creationId xmlns:a16="http://schemas.microsoft.com/office/drawing/2014/main" id="{D7A98369-0341-44E1-AA30-E25E288C7B3A}"/>
                  </a:ext>
                </a:extLst>
              </p:cNvPr>
              <p:cNvSpPr>
                <a:spLocks noChangeShapeType="1"/>
              </p:cNvSpPr>
              <p:nvPr/>
            </p:nvSpPr>
            <p:spPr bwMode="auto">
              <a:xfrm flipV="1">
                <a:off x="2676" y="2568"/>
                <a:ext cx="0" cy="245"/>
              </a:xfrm>
              <a:prstGeom prst="line">
                <a:avLst/>
              </a:prstGeom>
              <a:noFill/>
              <a:ln w="38100">
                <a:solidFill>
                  <a:srgbClr val="3333FF"/>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22" name="Line 55">
                <a:extLst>
                  <a:ext uri="{FF2B5EF4-FFF2-40B4-BE49-F238E27FC236}">
                    <a16:creationId xmlns:a16="http://schemas.microsoft.com/office/drawing/2014/main" id="{9D2D71EC-E043-4B8C-BC2E-0D66B2C64412}"/>
                  </a:ext>
                </a:extLst>
              </p:cNvPr>
              <p:cNvSpPr>
                <a:spLocks noChangeShapeType="1"/>
              </p:cNvSpPr>
              <p:nvPr/>
            </p:nvSpPr>
            <p:spPr bwMode="auto">
              <a:xfrm flipV="1">
                <a:off x="1564" y="2568"/>
                <a:ext cx="1112" cy="0"/>
              </a:xfrm>
              <a:prstGeom prst="line">
                <a:avLst/>
              </a:prstGeom>
              <a:noFill/>
              <a:ln w="38100">
                <a:solidFill>
                  <a:srgbClr val="3333FF"/>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23" name="Line 56">
                <a:extLst>
                  <a:ext uri="{FF2B5EF4-FFF2-40B4-BE49-F238E27FC236}">
                    <a16:creationId xmlns:a16="http://schemas.microsoft.com/office/drawing/2014/main" id="{D772D5BA-8BDE-4FB7-9561-D07EF62CC4C5}"/>
                  </a:ext>
                </a:extLst>
              </p:cNvPr>
              <p:cNvSpPr>
                <a:spLocks noChangeShapeType="1"/>
              </p:cNvSpPr>
              <p:nvPr/>
            </p:nvSpPr>
            <p:spPr bwMode="auto">
              <a:xfrm flipV="1">
                <a:off x="2676" y="2817"/>
                <a:ext cx="226" cy="0"/>
              </a:xfrm>
              <a:prstGeom prst="line">
                <a:avLst/>
              </a:prstGeom>
              <a:noFill/>
              <a:ln w="38100">
                <a:solidFill>
                  <a:srgbClr val="3333FF"/>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24" name="Line 57">
                <a:extLst>
                  <a:ext uri="{FF2B5EF4-FFF2-40B4-BE49-F238E27FC236}">
                    <a16:creationId xmlns:a16="http://schemas.microsoft.com/office/drawing/2014/main" id="{310E1ACE-3E2F-4343-B4FD-664BA7FCC56B}"/>
                  </a:ext>
                </a:extLst>
              </p:cNvPr>
              <p:cNvSpPr>
                <a:spLocks noChangeShapeType="1"/>
              </p:cNvSpPr>
              <p:nvPr/>
            </p:nvSpPr>
            <p:spPr bwMode="auto">
              <a:xfrm flipV="1">
                <a:off x="793" y="2985"/>
                <a:ext cx="159"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25" name="Line 58">
                <a:extLst>
                  <a:ext uri="{FF2B5EF4-FFF2-40B4-BE49-F238E27FC236}">
                    <a16:creationId xmlns:a16="http://schemas.microsoft.com/office/drawing/2014/main" id="{BC177D13-53C0-445D-9C14-EF171D17E8C9}"/>
                  </a:ext>
                </a:extLst>
              </p:cNvPr>
              <p:cNvSpPr>
                <a:spLocks noChangeShapeType="1"/>
              </p:cNvSpPr>
              <p:nvPr/>
            </p:nvSpPr>
            <p:spPr bwMode="auto">
              <a:xfrm flipV="1">
                <a:off x="952" y="2985"/>
                <a:ext cx="0" cy="28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spAutoFit/>
              </a:bodyPr>
              <a:lstStyle/>
              <a:p>
                <a:endParaRPr lang="en-GB" sz="1400"/>
              </a:p>
            </p:txBody>
          </p:sp>
          <p:sp>
            <p:nvSpPr>
              <p:cNvPr id="26" name="Line 59">
                <a:extLst>
                  <a:ext uri="{FF2B5EF4-FFF2-40B4-BE49-F238E27FC236}">
                    <a16:creationId xmlns:a16="http://schemas.microsoft.com/office/drawing/2014/main" id="{FBAF6E15-9A3C-4A70-A906-FB5E085AF6E2}"/>
                  </a:ext>
                </a:extLst>
              </p:cNvPr>
              <p:cNvSpPr>
                <a:spLocks noChangeShapeType="1"/>
              </p:cNvSpPr>
              <p:nvPr/>
            </p:nvSpPr>
            <p:spPr bwMode="auto">
              <a:xfrm flipV="1">
                <a:off x="952" y="3257"/>
                <a:ext cx="3039"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27" name="Text Box 60">
                <a:extLst>
                  <a:ext uri="{FF2B5EF4-FFF2-40B4-BE49-F238E27FC236}">
                    <a16:creationId xmlns:a16="http://schemas.microsoft.com/office/drawing/2014/main" id="{5590B766-7C23-45D7-8D3B-0E918423F1F4}"/>
                  </a:ext>
                </a:extLst>
              </p:cNvPr>
              <p:cNvSpPr txBox="1">
                <a:spLocks noChangeArrowheads="1"/>
              </p:cNvSpPr>
              <p:nvPr/>
            </p:nvSpPr>
            <p:spPr bwMode="auto">
              <a:xfrm>
                <a:off x="195" y="2591"/>
                <a:ext cx="59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r">
                  <a:spcBef>
                    <a:spcPct val="50000"/>
                  </a:spcBef>
                  <a:buFontTx/>
                  <a:buNone/>
                </a:pPr>
                <a:r>
                  <a:rPr lang="en-US" altLang="en-US" sz="1400" b="1">
                    <a:latin typeface="Siemens Sans" pitchFamily="2" charset="0"/>
                  </a:rPr>
                  <a:t>PrVal </a:t>
                </a:r>
                <a:endParaRPr lang="en-GB" altLang="en-US" sz="1400" b="1">
                  <a:latin typeface="Siemens Sans" pitchFamily="2" charset="0"/>
                </a:endParaRPr>
              </a:p>
            </p:txBody>
          </p:sp>
          <p:sp>
            <p:nvSpPr>
              <p:cNvPr id="28" name="Line 61">
                <a:extLst>
                  <a:ext uri="{FF2B5EF4-FFF2-40B4-BE49-F238E27FC236}">
                    <a16:creationId xmlns:a16="http://schemas.microsoft.com/office/drawing/2014/main" id="{8786A8BC-D729-430D-A113-86844196DF24}"/>
                  </a:ext>
                </a:extLst>
              </p:cNvPr>
              <p:cNvSpPr>
                <a:spLocks noChangeShapeType="1"/>
              </p:cNvSpPr>
              <p:nvPr/>
            </p:nvSpPr>
            <p:spPr bwMode="auto">
              <a:xfrm>
                <a:off x="1565" y="3823"/>
                <a:ext cx="725" cy="0"/>
              </a:xfrm>
              <a:prstGeom prst="line">
                <a:avLst/>
              </a:prstGeom>
              <a:noFill/>
              <a:ln w="381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29" name="Text Box 62">
                <a:extLst>
                  <a:ext uri="{FF2B5EF4-FFF2-40B4-BE49-F238E27FC236}">
                    <a16:creationId xmlns:a16="http://schemas.microsoft.com/office/drawing/2014/main" id="{DB8B2D7F-1447-4210-A11D-A8E7E7BF01F8}"/>
                  </a:ext>
                </a:extLst>
              </p:cNvPr>
              <p:cNvSpPr txBox="1">
                <a:spLocks noChangeArrowheads="1"/>
              </p:cNvSpPr>
              <p:nvPr/>
            </p:nvSpPr>
            <p:spPr bwMode="auto">
              <a:xfrm>
                <a:off x="1669" y="3823"/>
                <a:ext cx="536"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spcBef>
                    <a:spcPct val="50000"/>
                  </a:spcBef>
                  <a:buFontTx/>
                  <a:buNone/>
                </a:pPr>
                <a:r>
                  <a:rPr lang="en-GB" altLang="en-US" sz="1400" b="1" err="1">
                    <a:latin typeface="Siemens Sans" pitchFamily="2" charset="0"/>
                  </a:rPr>
                  <a:t>TimeDelay</a:t>
                </a:r>
                <a:endParaRPr lang="en-GB" altLang="en-US" sz="1400" b="1">
                  <a:latin typeface="Siemens Sans" pitchFamily="2" charset="0"/>
                </a:endParaRPr>
              </a:p>
            </p:txBody>
          </p:sp>
          <p:sp>
            <p:nvSpPr>
              <p:cNvPr id="30" name="Text Box 63">
                <a:extLst>
                  <a:ext uri="{FF2B5EF4-FFF2-40B4-BE49-F238E27FC236}">
                    <a16:creationId xmlns:a16="http://schemas.microsoft.com/office/drawing/2014/main" id="{DD99F1C8-DED8-426D-8E9A-82A508D10756}"/>
                  </a:ext>
                </a:extLst>
              </p:cNvPr>
              <p:cNvSpPr txBox="1">
                <a:spLocks noChangeArrowheads="1"/>
              </p:cNvSpPr>
              <p:nvPr/>
            </p:nvSpPr>
            <p:spPr bwMode="auto">
              <a:xfrm>
                <a:off x="254" y="3180"/>
                <a:ext cx="531"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r">
                  <a:spcBef>
                    <a:spcPct val="50000"/>
                  </a:spcBef>
                  <a:buFontTx/>
                  <a:buNone/>
                </a:pPr>
                <a:r>
                  <a:rPr lang="en-GB" altLang="en-US" sz="1400" b="1" dirty="0" err="1">
                    <a:latin typeface="Siemens Sans" pitchFamily="2" charset="0"/>
                  </a:rPr>
                  <a:t>Disbl</a:t>
                </a:r>
                <a:endParaRPr lang="en-GB" altLang="en-US" sz="1400" b="1" dirty="0">
                  <a:latin typeface="Siemens Sans" pitchFamily="2" charset="0"/>
                </a:endParaRPr>
              </a:p>
            </p:txBody>
          </p:sp>
          <p:sp>
            <p:nvSpPr>
              <p:cNvPr id="31" name="Text Box 64">
                <a:extLst>
                  <a:ext uri="{FF2B5EF4-FFF2-40B4-BE49-F238E27FC236}">
                    <a16:creationId xmlns:a16="http://schemas.microsoft.com/office/drawing/2014/main" id="{C529E02F-1EBC-4AFA-A717-CA4CEC82FC1D}"/>
                  </a:ext>
                </a:extLst>
              </p:cNvPr>
              <p:cNvSpPr txBox="1">
                <a:spLocks noChangeArrowheads="1"/>
              </p:cNvSpPr>
              <p:nvPr/>
            </p:nvSpPr>
            <p:spPr bwMode="auto">
              <a:xfrm>
                <a:off x="286" y="3595"/>
                <a:ext cx="49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r">
                  <a:spcBef>
                    <a:spcPct val="50000"/>
                  </a:spcBef>
                  <a:buFontTx/>
                  <a:buNone/>
                </a:pPr>
                <a:r>
                  <a:rPr lang="en-GB" altLang="en-US" sz="1400" b="1">
                    <a:latin typeface="Siemens Sans" pitchFamily="2" charset="0"/>
                  </a:rPr>
                  <a:t>OffNormal</a:t>
                </a:r>
              </a:p>
            </p:txBody>
          </p:sp>
          <p:sp>
            <p:nvSpPr>
              <p:cNvPr id="32" name="Line 65">
                <a:extLst>
                  <a:ext uri="{FF2B5EF4-FFF2-40B4-BE49-F238E27FC236}">
                    <a16:creationId xmlns:a16="http://schemas.microsoft.com/office/drawing/2014/main" id="{F4EB7940-70BD-4C6A-88EF-39AD6FF93566}"/>
                  </a:ext>
                </a:extLst>
              </p:cNvPr>
              <p:cNvSpPr>
                <a:spLocks noChangeShapeType="1"/>
              </p:cNvSpPr>
              <p:nvPr/>
            </p:nvSpPr>
            <p:spPr bwMode="auto">
              <a:xfrm flipV="1">
                <a:off x="3129" y="2562"/>
                <a:ext cx="0" cy="245"/>
              </a:xfrm>
              <a:prstGeom prst="line">
                <a:avLst/>
              </a:prstGeom>
              <a:noFill/>
              <a:ln w="38100">
                <a:solidFill>
                  <a:srgbClr val="3333FF"/>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33" name="Line 66">
                <a:extLst>
                  <a:ext uri="{FF2B5EF4-FFF2-40B4-BE49-F238E27FC236}">
                    <a16:creationId xmlns:a16="http://schemas.microsoft.com/office/drawing/2014/main" id="{2779DCB1-8B25-4E29-B822-4996851E6905}"/>
                  </a:ext>
                </a:extLst>
              </p:cNvPr>
              <p:cNvSpPr>
                <a:spLocks noChangeShapeType="1"/>
              </p:cNvSpPr>
              <p:nvPr/>
            </p:nvSpPr>
            <p:spPr bwMode="auto">
              <a:xfrm>
                <a:off x="3129" y="2817"/>
                <a:ext cx="862" cy="0"/>
              </a:xfrm>
              <a:prstGeom prst="line">
                <a:avLst/>
              </a:prstGeom>
              <a:noFill/>
              <a:ln w="38100">
                <a:solidFill>
                  <a:srgbClr val="3333FF"/>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34" name="Text Box 67">
                <a:extLst>
                  <a:ext uri="{FF2B5EF4-FFF2-40B4-BE49-F238E27FC236}">
                    <a16:creationId xmlns:a16="http://schemas.microsoft.com/office/drawing/2014/main" id="{E420B9AF-8EE9-4ADC-BCF4-00380229B54F}"/>
                  </a:ext>
                </a:extLst>
              </p:cNvPr>
              <p:cNvSpPr txBox="1">
                <a:spLocks noChangeArrowheads="1"/>
              </p:cNvSpPr>
              <p:nvPr/>
            </p:nvSpPr>
            <p:spPr bwMode="auto">
              <a:xfrm>
                <a:off x="3186" y="3825"/>
                <a:ext cx="847"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spcBef>
                    <a:spcPct val="50000"/>
                  </a:spcBef>
                  <a:buFontTx/>
                  <a:buNone/>
                </a:pPr>
                <a:r>
                  <a:rPr lang="en-GB" altLang="en-US" sz="1400" b="1" err="1">
                    <a:latin typeface="Siemens Sans" pitchFamily="2" charset="0"/>
                  </a:rPr>
                  <a:t>TimeDelayNormal</a:t>
                </a:r>
                <a:endParaRPr lang="en-GB" altLang="en-US" sz="1400" b="1">
                  <a:latin typeface="Siemens Sans" pitchFamily="2" charset="0"/>
                </a:endParaRPr>
              </a:p>
            </p:txBody>
          </p:sp>
          <p:sp>
            <p:nvSpPr>
              <p:cNvPr id="35" name="Line 68">
                <a:extLst>
                  <a:ext uri="{FF2B5EF4-FFF2-40B4-BE49-F238E27FC236}">
                    <a16:creationId xmlns:a16="http://schemas.microsoft.com/office/drawing/2014/main" id="{275AE3D2-8BF6-409D-9BEE-7F74BBF18F54}"/>
                  </a:ext>
                </a:extLst>
              </p:cNvPr>
              <p:cNvSpPr>
                <a:spLocks noChangeShapeType="1"/>
              </p:cNvSpPr>
              <p:nvPr/>
            </p:nvSpPr>
            <p:spPr bwMode="auto">
              <a:xfrm>
                <a:off x="3129" y="3801"/>
                <a:ext cx="726" cy="0"/>
              </a:xfrm>
              <a:prstGeom prst="line">
                <a:avLst/>
              </a:prstGeom>
              <a:noFill/>
              <a:ln w="381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36" name="Text Box 69">
                <a:extLst>
                  <a:ext uri="{FF2B5EF4-FFF2-40B4-BE49-F238E27FC236}">
                    <a16:creationId xmlns:a16="http://schemas.microsoft.com/office/drawing/2014/main" id="{D61DB279-2E8F-4845-A6E9-EF50FB6D49A0}"/>
                  </a:ext>
                </a:extLst>
              </p:cNvPr>
              <p:cNvSpPr txBox="1">
                <a:spLocks noChangeArrowheads="1"/>
              </p:cNvSpPr>
              <p:nvPr/>
            </p:nvSpPr>
            <p:spPr bwMode="auto">
              <a:xfrm>
                <a:off x="467" y="2772"/>
                <a:ext cx="318"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r">
                  <a:spcBef>
                    <a:spcPct val="50000"/>
                  </a:spcBef>
                  <a:buFontTx/>
                  <a:buNone/>
                </a:pPr>
                <a:r>
                  <a:rPr lang="en-GB" altLang="en-US" sz="1400" b="1">
                    <a:latin typeface="Siemens Sans" pitchFamily="2" charset="0"/>
                  </a:rPr>
                  <a:t>Good</a:t>
                </a:r>
              </a:p>
            </p:txBody>
          </p:sp>
          <p:sp>
            <p:nvSpPr>
              <p:cNvPr id="37" name="Line 70">
                <a:extLst>
                  <a:ext uri="{FF2B5EF4-FFF2-40B4-BE49-F238E27FC236}">
                    <a16:creationId xmlns:a16="http://schemas.microsoft.com/office/drawing/2014/main" id="{F9053118-CC56-4C96-9D84-17365CBBE279}"/>
                  </a:ext>
                </a:extLst>
              </p:cNvPr>
              <p:cNvSpPr>
                <a:spLocks noChangeShapeType="1"/>
              </p:cNvSpPr>
              <p:nvPr/>
            </p:nvSpPr>
            <p:spPr bwMode="auto">
              <a:xfrm flipH="1">
                <a:off x="777" y="2562"/>
                <a:ext cx="88"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spAutoFit/>
              </a:bodyPr>
              <a:lstStyle/>
              <a:p>
                <a:endParaRPr lang="en-GB" sz="1400"/>
              </a:p>
            </p:txBody>
          </p:sp>
          <p:sp>
            <p:nvSpPr>
              <p:cNvPr id="38" name="Text Box 71">
                <a:extLst>
                  <a:ext uri="{FF2B5EF4-FFF2-40B4-BE49-F238E27FC236}">
                    <a16:creationId xmlns:a16="http://schemas.microsoft.com/office/drawing/2014/main" id="{7C7A1F15-1468-433F-95AF-B8886A8A3F0A}"/>
                  </a:ext>
                </a:extLst>
              </p:cNvPr>
              <p:cNvSpPr txBox="1">
                <a:spLocks noChangeArrowheads="1"/>
              </p:cNvSpPr>
              <p:nvPr/>
            </p:nvSpPr>
            <p:spPr bwMode="auto">
              <a:xfrm>
                <a:off x="559" y="2432"/>
                <a:ext cx="226"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r">
                  <a:spcBef>
                    <a:spcPct val="50000"/>
                  </a:spcBef>
                  <a:buFontTx/>
                  <a:buNone/>
                </a:pPr>
                <a:r>
                  <a:rPr lang="en-GB" altLang="en-US" sz="1400" b="1" dirty="0">
                    <a:latin typeface="Siemens Sans" pitchFamily="2" charset="0"/>
                  </a:rPr>
                  <a:t>Bad</a:t>
                </a:r>
              </a:p>
            </p:txBody>
          </p:sp>
          <p:sp>
            <p:nvSpPr>
              <p:cNvPr id="39" name="Text Box 73">
                <a:extLst>
                  <a:ext uri="{FF2B5EF4-FFF2-40B4-BE49-F238E27FC236}">
                    <a16:creationId xmlns:a16="http://schemas.microsoft.com/office/drawing/2014/main" id="{827DC27A-7E89-40E1-8F3F-D08E7DD36666}"/>
                  </a:ext>
                </a:extLst>
              </p:cNvPr>
              <p:cNvSpPr txBox="1">
                <a:spLocks noChangeArrowheads="1"/>
              </p:cNvSpPr>
              <p:nvPr/>
            </p:nvSpPr>
            <p:spPr bwMode="auto">
              <a:xfrm>
                <a:off x="657" y="2976"/>
                <a:ext cx="169"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spcBef>
                    <a:spcPct val="50000"/>
                  </a:spcBef>
                  <a:buFontTx/>
                  <a:buNone/>
                </a:pPr>
                <a:r>
                  <a:rPr lang="en-GB" altLang="en-US" sz="1400" b="1">
                    <a:latin typeface="Siemens Sans" pitchFamily="2" charset="0"/>
                  </a:rPr>
                  <a:t>1</a:t>
                </a:r>
              </a:p>
            </p:txBody>
          </p:sp>
          <p:sp>
            <p:nvSpPr>
              <p:cNvPr id="40" name="Line 74">
                <a:extLst>
                  <a:ext uri="{FF2B5EF4-FFF2-40B4-BE49-F238E27FC236}">
                    <a16:creationId xmlns:a16="http://schemas.microsoft.com/office/drawing/2014/main" id="{A5AB46D3-18A7-42FF-A7FD-268D056462FF}"/>
                  </a:ext>
                </a:extLst>
              </p:cNvPr>
              <p:cNvSpPr>
                <a:spLocks noChangeShapeType="1"/>
              </p:cNvSpPr>
              <p:nvPr/>
            </p:nvSpPr>
            <p:spPr bwMode="auto">
              <a:xfrm>
                <a:off x="2254" y="3438"/>
                <a:ext cx="1620"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square" anchor="ctr">
                <a:spAutoFit/>
              </a:bodyPr>
              <a:lstStyle/>
              <a:p>
                <a:endParaRPr lang="en-GB" sz="1400"/>
              </a:p>
            </p:txBody>
          </p:sp>
          <p:sp>
            <p:nvSpPr>
              <p:cNvPr id="41" name="Line 75">
                <a:extLst>
                  <a:ext uri="{FF2B5EF4-FFF2-40B4-BE49-F238E27FC236}">
                    <a16:creationId xmlns:a16="http://schemas.microsoft.com/office/drawing/2014/main" id="{81119C54-984D-4D15-904B-592D2C84CC33}"/>
                  </a:ext>
                </a:extLst>
              </p:cNvPr>
              <p:cNvSpPr>
                <a:spLocks noChangeShapeType="1"/>
              </p:cNvSpPr>
              <p:nvPr/>
            </p:nvSpPr>
            <p:spPr bwMode="auto">
              <a:xfrm flipV="1">
                <a:off x="793" y="3733"/>
                <a:ext cx="1474"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42" name="Line 76">
                <a:extLst>
                  <a:ext uri="{FF2B5EF4-FFF2-40B4-BE49-F238E27FC236}">
                    <a16:creationId xmlns:a16="http://schemas.microsoft.com/office/drawing/2014/main" id="{6E127572-247F-4A43-B17C-6302419D16BC}"/>
                  </a:ext>
                </a:extLst>
              </p:cNvPr>
              <p:cNvSpPr>
                <a:spLocks noChangeShapeType="1"/>
              </p:cNvSpPr>
              <p:nvPr/>
            </p:nvSpPr>
            <p:spPr bwMode="auto">
              <a:xfrm flipV="1">
                <a:off x="3855" y="3733"/>
                <a:ext cx="159"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43" name="Line 77">
                <a:extLst>
                  <a:ext uri="{FF2B5EF4-FFF2-40B4-BE49-F238E27FC236}">
                    <a16:creationId xmlns:a16="http://schemas.microsoft.com/office/drawing/2014/main" id="{31470DBE-64AF-495A-A56C-14BF1D566C8B}"/>
                  </a:ext>
                </a:extLst>
              </p:cNvPr>
              <p:cNvSpPr>
                <a:spLocks noChangeShapeType="1"/>
              </p:cNvSpPr>
              <p:nvPr/>
            </p:nvSpPr>
            <p:spPr bwMode="auto">
              <a:xfrm flipV="1">
                <a:off x="2267" y="3438"/>
                <a:ext cx="0" cy="28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spAutoFit/>
              </a:bodyPr>
              <a:lstStyle/>
              <a:p>
                <a:endParaRPr lang="en-GB" sz="1400"/>
              </a:p>
            </p:txBody>
          </p:sp>
          <p:sp>
            <p:nvSpPr>
              <p:cNvPr id="44" name="Line 78">
                <a:extLst>
                  <a:ext uri="{FF2B5EF4-FFF2-40B4-BE49-F238E27FC236}">
                    <a16:creationId xmlns:a16="http://schemas.microsoft.com/office/drawing/2014/main" id="{A3A48140-FC68-44BA-A035-BD2F0DA894CD}"/>
                  </a:ext>
                </a:extLst>
              </p:cNvPr>
              <p:cNvSpPr>
                <a:spLocks noChangeShapeType="1"/>
              </p:cNvSpPr>
              <p:nvPr/>
            </p:nvSpPr>
            <p:spPr bwMode="auto">
              <a:xfrm flipV="1">
                <a:off x="3855" y="3438"/>
                <a:ext cx="0" cy="28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wrap="none" anchor="ctr">
                <a:spAutoFit/>
              </a:bodyPr>
              <a:lstStyle/>
              <a:p>
                <a:endParaRPr lang="en-GB" sz="1400"/>
              </a:p>
            </p:txBody>
          </p:sp>
          <p:sp>
            <p:nvSpPr>
              <p:cNvPr id="45" name="Line 79">
                <a:extLst>
                  <a:ext uri="{FF2B5EF4-FFF2-40B4-BE49-F238E27FC236}">
                    <a16:creationId xmlns:a16="http://schemas.microsoft.com/office/drawing/2014/main" id="{20D0A579-F1BB-46CE-925D-1C9CDB772D81}"/>
                  </a:ext>
                </a:extLst>
              </p:cNvPr>
              <p:cNvSpPr>
                <a:spLocks noChangeShapeType="1"/>
              </p:cNvSpPr>
              <p:nvPr/>
            </p:nvSpPr>
            <p:spPr bwMode="auto">
              <a:xfrm>
                <a:off x="816" y="2817"/>
                <a:ext cx="321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46" name="Line 80">
                <a:extLst>
                  <a:ext uri="{FF2B5EF4-FFF2-40B4-BE49-F238E27FC236}">
                    <a16:creationId xmlns:a16="http://schemas.microsoft.com/office/drawing/2014/main" id="{7570F70B-DBF6-4F16-B78E-F6D61B27C596}"/>
                  </a:ext>
                </a:extLst>
              </p:cNvPr>
              <p:cNvSpPr>
                <a:spLocks noChangeShapeType="1"/>
              </p:cNvSpPr>
              <p:nvPr/>
            </p:nvSpPr>
            <p:spPr bwMode="auto">
              <a:xfrm>
                <a:off x="1564" y="2568"/>
                <a:ext cx="0" cy="129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47" name="Line 81">
                <a:extLst>
                  <a:ext uri="{FF2B5EF4-FFF2-40B4-BE49-F238E27FC236}">
                    <a16:creationId xmlns:a16="http://schemas.microsoft.com/office/drawing/2014/main" id="{CECBB97B-C950-4666-9839-F2D7E79F8C7D}"/>
                  </a:ext>
                </a:extLst>
              </p:cNvPr>
              <p:cNvSpPr>
                <a:spLocks noChangeShapeType="1"/>
              </p:cNvSpPr>
              <p:nvPr/>
            </p:nvSpPr>
            <p:spPr bwMode="auto">
              <a:xfrm>
                <a:off x="3129" y="2817"/>
                <a:ext cx="0" cy="113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sp>
            <p:nvSpPr>
              <p:cNvPr id="48" name="Line 82">
                <a:extLst>
                  <a:ext uri="{FF2B5EF4-FFF2-40B4-BE49-F238E27FC236}">
                    <a16:creationId xmlns:a16="http://schemas.microsoft.com/office/drawing/2014/main" id="{67457EBA-E358-4584-9471-0E73905C4A8D}"/>
                  </a:ext>
                </a:extLst>
              </p:cNvPr>
              <p:cNvSpPr>
                <a:spLocks noChangeShapeType="1"/>
              </p:cNvSpPr>
              <p:nvPr/>
            </p:nvSpPr>
            <p:spPr bwMode="auto">
              <a:xfrm flipH="1">
                <a:off x="793" y="3249"/>
                <a:ext cx="15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spAutoFit/>
              </a:bodyPr>
              <a:lstStyle/>
              <a:p>
                <a:endParaRPr lang="en-GB" sz="1400"/>
              </a:p>
            </p:txBody>
          </p:sp>
        </p:grpSp>
      </p:grpSp>
      <p:grpSp>
        <p:nvGrpSpPr>
          <p:cNvPr id="49" name="Gruppieren 48">
            <a:extLst>
              <a:ext uri="{FF2B5EF4-FFF2-40B4-BE49-F238E27FC236}">
                <a16:creationId xmlns:a16="http://schemas.microsoft.com/office/drawing/2014/main" id="{E76DDDAE-A6C4-44BD-8C7E-B934A76A622F}"/>
              </a:ext>
            </a:extLst>
          </p:cNvPr>
          <p:cNvGrpSpPr/>
          <p:nvPr/>
        </p:nvGrpSpPr>
        <p:grpSpPr>
          <a:xfrm>
            <a:off x="2344346" y="577005"/>
            <a:ext cx="5643303" cy="2394912"/>
            <a:chOff x="2952053" y="1451491"/>
            <a:chExt cx="4208954" cy="1704531"/>
          </a:xfrm>
        </p:grpSpPr>
        <p:pic>
          <p:nvPicPr>
            <p:cNvPr id="50" name="Picture 49">
              <a:extLst>
                <a:ext uri="{FF2B5EF4-FFF2-40B4-BE49-F238E27FC236}">
                  <a16:creationId xmlns:a16="http://schemas.microsoft.com/office/drawing/2014/main" id="{89FCCCBB-ED13-4399-8A7E-860876127743}"/>
                </a:ext>
              </a:extLst>
            </p:cNvPr>
            <p:cNvPicPr>
              <a:picLocks noChangeAspect="1"/>
            </p:cNvPicPr>
            <p:nvPr/>
          </p:nvPicPr>
          <p:blipFill>
            <a:blip r:embed="rId2"/>
            <a:stretch>
              <a:fillRect/>
            </a:stretch>
          </p:blipFill>
          <p:spPr>
            <a:xfrm>
              <a:off x="2952053" y="1451491"/>
              <a:ext cx="4208954" cy="1704531"/>
            </a:xfrm>
            <a:prstGeom prst="rect">
              <a:avLst/>
            </a:prstGeom>
          </p:spPr>
        </p:pic>
        <p:sp>
          <p:nvSpPr>
            <p:cNvPr id="51" name="Rectangle 17">
              <a:extLst>
                <a:ext uri="{FF2B5EF4-FFF2-40B4-BE49-F238E27FC236}">
                  <a16:creationId xmlns:a16="http://schemas.microsoft.com/office/drawing/2014/main" id="{4D3467B1-DFE1-49B5-B33F-52D5545519EA}"/>
                </a:ext>
              </a:extLst>
            </p:cNvPr>
            <p:cNvSpPr>
              <a:spLocks noChangeArrowheads="1"/>
            </p:cNvSpPr>
            <p:nvPr/>
          </p:nvSpPr>
          <p:spPr bwMode="auto">
            <a:xfrm>
              <a:off x="3074333" y="2375537"/>
              <a:ext cx="4086674" cy="367978"/>
            </a:xfrm>
            <a:prstGeom prst="rect">
              <a:avLst/>
            </a:prstGeom>
            <a:noFill/>
            <a:ln w="57150">
              <a:solidFill>
                <a:srgbClr val="0080B6"/>
              </a:solidFill>
            </a:ln>
            <a:effectLst/>
          </p:spPr>
          <p:txBody>
            <a:bodyPr wrap="square" lIns="108000" tIns="54000" rIns="36000" bIns="54000" numCol="1" spcCol="72000" rtlCol="0" anchor="ctr">
              <a:no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l">
                <a:lnSpc>
                  <a:spcPct val="110000"/>
                </a:lnSpc>
                <a:spcBef>
                  <a:spcPct val="0"/>
                </a:spcBef>
              </a:pPr>
              <a:endParaRPr lang="en-US" altLang="en-US">
                <a:solidFill>
                  <a:schemeClr val="bg1"/>
                </a:solidFill>
              </a:endParaRPr>
            </a:p>
          </p:txBody>
        </p:sp>
      </p:grpSp>
      <p:sp>
        <p:nvSpPr>
          <p:cNvPr id="76" name="cdtText Box 4 Id114692">
            <a:extLst>
              <a:ext uri="{FF2B5EF4-FFF2-40B4-BE49-F238E27FC236}">
                <a16:creationId xmlns:a16="http://schemas.microsoft.com/office/drawing/2014/main" id="{17BB12BD-1EA4-4D04-A0E0-80A90B0D552B}"/>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Alarm time delay settings</a:t>
            </a:r>
          </a:p>
        </p:txBody>
      </p:sp>
      <p:sp>
        <p:nvSpPr>
          <p:cNvPr id="54" name="Textfeld 337">
            <a:extLst>
              <a:ext uri="{FF2B5EF4-FFF2-40B4-BE49-F238E27FC236}">
                <a16:creationId xmlns:a16="http://schemas.microsoft.com/office/drawing/2014/main" id="{F1DB8AF2-E5BB-4F00-9D9C-DBA6809D085A}"/>
              </a:ext>
            </a:extLst>
          </p:cNvPr>
          <p:cNvSpPr txBox="1"/>
          <p:nvPr/>
        </p:nvSpPr>
        <p:spPr>
          <a:xfrm>
            <a:off x="-2541" y="4636355"/>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Alarming</a:t>
            </a:r>
            <a:endParaRPr lang="en-US" sz="1100" b="0" u="none" strike="noStrike" kern="1200" dirty="0">
              <a:effectLst/>
              <a:latin typeface="+mj-lt"/>
              <a:ea typeface="+mn-ea"/>
            </a:endParaRPr>
          </a:p>
        </p:txBody>
      </p:sp>
    </p:spTree>
    <p:extLst>
      <p:ext uri="{BB962C8B-B14F-4D97-AF65-F5344CB8AC3E}">
        <p14:creationId xmlns:p14="http://schemas.microsoft.com/office/powerpoint/2010/main" val="368114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br>
              <a:rPr lang="en-US" noProof="0"/>
            </a:br>
            <a:endParaRPr lang="en-US" noProof="0"/>
          </a:p>
        </p:txBody>
      </p:sp>
      <p:sp>
        <p:nvSpPr>
          <p:cNvPr id="3" name="Rectangle 3">
            <a:extLst>
              <a:ext uri="{FF2B5EF4-FFF2-40B4-BE49-F238E27FC236}">
                <a16:creationId xmlns:a16="http://schemas.microsoft.com/office/drawing/2014/main" id="{50E17820-B62F-4719-80D9-FEC26EF1D72C}"/>
              </a:ext>
            </a:extLst>
          </p:cNvPr>
          <p:cNvSpPr txBox="1">
            <a:spLocks noChangeArrowheads="1"/>
          </p:cNvSpPr>
          <p:nvPr/>
        </p:nvSpPr>
        <p:spPr bwMode="auto">
          <a:xfrm>
            <a:off x="7541799" y="574368"/>
            <a:ext cx="4002501" cy="46110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88" lvl="1" indent="0">
              <a:buNone/>
            </a:pPr>
            <a:r>
              <a:rPr lang="en-US" altLang="en-US" sz="1600" kern="0" dirty="0"/>
              <a:t>What happens when the object is in alarm:</a:t>
            </a:r>
          </a:p>
          <a:p>
            <a:pPr marL="180921" lvl="2" indent="0">
              <a:buClrTx/>
              <a:buNone/>
            </a:pPr>
            <a:endParaRPr lang="en-US" altLang="en-US" sz="1600" kern="0" dirty="0"/>
          </a:p>
          <a:p>
            <a:pPr marL="523821" lvl="2" indent="-342900">
              <a:spcAft>
                <a:spcPts val="600"/>
              </a:spcAft>
              <a:buClrTx/>
              <a:buAutoNum type="alphaLcParenR"/>
            </a:pPr>
            <a:r>
              <a:rPr lang="en-US" altLang="en-US" sz="1600" kern="0" dirty="0"/>
              <a:t>For example, a frost signal (binary input) is received from a thermostat as “</a:t>
            </a:r>
            <a:r>
              <a:rPr lang="en-US" altLang="en-US" sz="1600" kern="0" dirty="0" err="1"/>
              <a:t>OffNormal</a:t>
            </a:r>
            <a:r>
              <a:rPr lang="en-US" altLang="en-US" sz="1600" kern="0" dirty="0"/>
              <a:t>”</a:t>
            </a:r>
          </a:p>
          <a:p>
            <a:pPr marL="523821" lvl="2" indent="-342900">
              <a:spcAft>
                <a:spcPts val="600"/>
              </a:spcAft>
              <a:buClrTx/>
              <a:buAutoNum type="alphaLcParenR"/>
            </a:pPr>
            <a:r>
              <a:rPr lang="en-US" altLang="en-US" sz="1600" kern="0" dirty="0"/>
              <a:t>The alarm triggers certain logic in the application</a:t>
            </a:r>
          </a:p>
          <a:p>
            <a:pPr marL="523821" lvl="2" indent="-342900">
              <a:spcAft>
                <a:spcPts val="600"/>
              </a:spcAft>
              <a:buClrTx/>
              <a:buAutoNum type="alphaLcParenR"/>
            </a:pPr>
            <a:r>
              <a:rPr lang="en-US" altLang="en-US" sz="1600" kern="0" dirty="0"/>
              <a:t>An entry is created in the controller alarm list.</a:t>
            </a:r>
          </a:p>
          <a:p>
            <a:pPr marL="523821" lvl="2" indent="-342900">
              <a:spcAft>
                <a:spcPts val="600"/>
              </a:spcAft>
              <a:buClrTx/>
              <a:buAutoNum type="alphaLcParenR"/>
            </a:pPr>
            <a:r>
              <a:rPr lang="en-US" altLang="en-US" sz="1600" kern="0" dirty="0"/>
              <a:t>A message is received on the HMI.</a:t>
            </a:r>
          </a:p>
          <a:p>
            <a:pPr marL="523821" lvl="2" indent="-342900">
              <a:spcAft>
                <a:spcPts val="600"/>
              </a:spcAft>
              <a:buClrTx/>
              <a:buAutoNum type="alphaLcParenR"/>
            </a:pPr>
            <a:r>
              <a:rPr lang="en-US" altLang="en-US" sz="1600" kern="0" dirty="0"/>
              <a:t>Further alarm messages can be configured to be received by external clients, e.g. SCOPE, BACnet client, SMS. </a:t>
            </a:r>
          </a:p>
        </p:txBody>
      </p:sp>
      <p:sp>
        <p:nvSpPr>
          <p:cNvPr id="41" name="cdtText Box 4 Id114692">
            <a:extLst>
              <a:ext uri="{FF2B5EF4-FFF2-40B4-BE49-F238E27FC236}">
                <a16:creationId xmlns:a16="http://schemas.microsoft.com/office/drawing/2014/main" id="{A9E1A35C-4F20-4134-9B83-80A258C1DE87}"/>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Alarm handling control logic</a:t>
            </a:r>
          </a:p>
        </p:txBody>
      </p:sp>
      <p:grpSp>
        <p:nvGrpSpPr>
          <p:cNvPr id="7" name="Gruppieren 6">
            <a:extLst>
              <a:ext uri="{FF2B5EF4-FFF2-40B4-BE49-F238E27FC236}">
                <a16:creationId xmlns:a16="http://schemas.microsoft.com/office/drawing/2014/main" id="{BAA1F0AC-554E-4009-893B-215DC7436C41}"/>
              </a:ext>
            </a:extLst>
          </p:cNvPr>
          <p:cNvGrpSpPr/>
          <p:nvPr/>
        </p:nvGrpSpPr>
        <p:grpSpPr>
          <a:xfrm>
            <a:off x="2157459" y="582410"/>
            <a:ext cx="5133088" cy="5075455"/>
            <a:chOff x="2344518" y="1035978"/>
            <a:chExt cx="3867634" cy="3824209"/>
          </a:xfrm>
        </p:grpSpPr>
        <p:sp>
          <p:nvSpPr>
            <p:cNvPr id="4" name="Oval 3">
              <a:extLst>
                <a:ext uri="{FF2B5EF4-FFF2-40B4-BE49-F238E27FC236}">
                  <a16:creationId xmlns:a16="http://schemas.microsoft.com/office/drawing/2014/main" id="{3FC5BB77-2292-44E0-840E-B71FD1E2D5FE}"/>
                </a:ext>
              </a:extLst>
            </p:cNvPr>
            <p:cNvSpPr/>
            <p:nvPr/>
          </p:nvSpPr>
          <p:spPr bwMode="auto">
            <a:xfrm>
              <a:off x="2452502" y="2016611"/>
              <a:ext cx="71989" cy="71989"/>
            </a:xfrm>
            <a:prstGeom prst="ellipse">
              <a:avLst/>
            </a:prstGeom>
            <a:noFill/>
            <a:ln>
              <a:solidFill>
                <a:schemeClr val="tx1"/>
              </a:solidFill>
            </a:ln>
            <a:effectLst/>
          </p:spPr>
          <p:txBody>
            <a:bodyPr wrap="square" lIns="107972" tIns="53986" rIns="107972" bIns="53986" numCol="1" spcCol="72000" rtlCol="0" anchor="ctr">
              <a:noAutofit/>
            </a:bodyPr>
            <a:lstStyle/>
            <a:p>
              <a:pPr algn="ctr">
                <a:lnSpc>
                  <a:spcPct val="110000"/>
                </a:lnSpc>
                <a:spcBef>
                  <a:spcPct val="0"/>
                </a:spcBef>
                <a:buFont typeface="Wingdings" charset="0"/>
                <a:buNone/>
              </a:pPr>
              <a:endParaRPr lang="en-GB" sz="1799">
                <a:solidFill>
                  <a:schemeClr val="tx1"/>
                </a:solidFill>
                <a:latin typeface="+mn-lt"/>
                <a:ea typeface="Arial Unicode MS" panose="020B0604020202020204" pitchFamily="34" charset="-128"/>
                <a:cs typeface="Arial Unicode MS" panose="020B0604020202020204" pitchFamily="34" charset="-128"/>
              </a:endParaRPr>
            </a:p>
          </p:txBody>
        </p:sp>
        <p:sp>
          <p:nvSpPr>
            <p:cNvPr id="18" name="Oval 17">
              <a:extLst>
                <a:ext uri="{FF2B5EF4-FFF2-40B4-BE49-F238E27FC236}">
                  <a16:creationId xmlns:a16="http://schemas.microsoft.com/office/drawing/2014/main" id="{5CC1D7EE-92EB-4EE8-BA93-E8782CAE39F4}"/>
                </a:ext>
              </a:extLst>
            </p:cNvPr>
            <p:cNvSpPr/>
            <p:nvPr/>
          </p:nvSpPr>
          <p:spPr bwMode="auto">
            <a:xfrm>
              <a:off x="2452502" y="2240960"/>
              <a:ext cx="71989" cy="71989"/>
            </a:xfrm>
            <a:prstGeom prst="ellipse">
              <a:avLst/>
            </a:prstGeom>
            <a:noFill/>
            <a:ln>
              <a:solidFill>
                <a:schemeClr val="tx1"/>
              </a:solidFill>
            </a:ln>
            <a:effectLst/>
          </p:spPr>
          <p:txBody>
            <a:bodyPr wrap="square" lIns="107972" tIns="53986" rIns="107972" bIns="53986" numCol="1" spcCol="72000" rtlCol="0" anchor="ctr">
              <a:noAutofit/>
            </a:bodyPr>
            <a:lstStyle/>
            <a:p>
              <a:pPr algn="ctr">
                <a:lnSpc>
                  <a:spcPct val="110000"/>
                </a:lnSpc>
                <a:spcBef>
                  <a:spcPct val="0"/>
                </a:spcBef>
                <a:buFont typeface="Wingdings" charset="0"/>
                <a:buNone/>
              </a:pPr>
              <a:endParaRPr lang="en-GB" sz="1799">
                <a:solidFill>
                  <a:schemeClr val="tx1"/>
                </a:solidFill>
                <a:latin typeface="+mn-lt"/>
                <a:ea typeface="Arial Unicode MS" panose="020B0604020202020204" pitchFamily="34" charset="-128"/>
                <a:cs typeface="Arial Unicode MS" panose="020B0604020202020204" pitchFamily="34" charset="-128"/>
              </a:endParaRPr>
            </a:p>
          </p:txBody>
        </p:sp>
        <p:cxnSp>
          <p:nvCxnSpPr>
            <p:cNvPr id="6" name="Straight Connector 5">
              <a:extLst>
                <a:ext uri="{FF2B5EF4-FFF2-40B4-BE49-F238E27FC236}">
                  <a16:creationId xmlns:a16="http://schemas.microsoft.com/office/drawing/2014/main" id="{DBB418BC-95FB-4453-B2B3-F3A75946C757}"/>
                </a:ext>
              </a:extLst>
            </p:cNvPr>
            <p:cNvCxnSpPr>
              <a:cxnSpLocks/>
              <a:stCxn id="4" idx="4"/>
            </p:cNvCxnSpPr>
            <p:nvPr/>
          </p:nvCxnSpPr>
          <p:spPr bwMode="auto">
            <a:xfrm flipH="1">
              <a:off x="2344518" y="2088600"/>
              <a:ext cx="143979" cy="188355"/>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AC9657B1-12CD-4935-98DA-912AAACB379A}"/>
                </a:ext>
              </a:extLst>
            </p:cNvPr>
            <p:cNvCxnSpPr>
              <a:stCxn id="4" idx="6"/>
            </p:cNvCxnSpPr>
            <p:nvPr/>
          </p:nvCxnSpPr>
          <p:spPr bwMode="auto">
            <a:xfrm>
              <a:off x="2524491" y="2052605"/>
              <a:ext cx="287957"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Straight Connector 25">
              <a:extLst>
                <a:ext uri="{FF2B5EF4-FFF2-40B4-BE49-F238E27FC236}">
                  <a16:creationId xmlns:a16="http://schemas.microsoft.com/office/drawing/2014/main" id="{37DCE923-D6D2-4903-B6FA-26F8A935165C}"/>
                </a:ext>
              </a:extLst>
            </p:cNvPr>
            <p:cNvCxnSpPr/>
            <p:nvPr/>
          </p:nvCxnSpPr>
          <p:spPr bwMode="auto">
            <a:xfrm>
              <a:off x="2524491" y="2276955"/>
              <a:ext cx="287957"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aphicFrame>
          <p:nvGraphicFramePr>
            <p:cNvPr id="16" name="Object 4">
              <a:extLst>
                <a:ext uri="{FF2B5EF4-FFF2-40B4-BE49-F238E27FC236}">
                  <a16:creationId xmlns:a16="http://schemas.microsoft.com/office/drawing/2014/main" id="{0C7D8580-5C42-4870-B82D-19E862828E06}"/>
                </a:ext>
              </a:extLst>
            </p:cNvPr>
            <p:cNvGraphicFramePr>
              <a:graphicFrameLocks noChangeAspect="1"/>
            </p:cNvGraphicFramePr>
            <p:nvPr>
              <p:extLst>
                <p:ext uri="{D42A27DB-BD31-4B8C-83A1-F6EECF244321}">
                  <p14:modId xmlns:p14="http://schemas.microsoft.com/office/powerpoint/2010/main" val="2168947337"/>
                </p:ext>
              </p:extLst>
            </p:nvPr>
          </p:nvGraphicFramePr>
          <p:xfrm>
            <a:off x="2776454" y="1035978"/>
            <a:ext cx="3435698" cy="3824209"/>
          </p:xfrm>
          <a:graphic>
            <a:graphicData uri="http://schemas.openxmlformats.org/presentationml/2006/ole">
              <mc:AlternateContent xmlns:mc="http://schemas.openxmlformats.org/markup-compatibility/2006">
                <mc:Choice xmlns:v="urn:schemas-microsoft-com:vml" Requires="v">
                  <p:oleObj name="Visio" r:id="rId2" imgW="4138707" imgH="4606587" progId="Visio.Drawing.11">
                    <p:embed/>
                  </p:oleObj>
                </mc:Choice>
                <mc:Fallback>
                  <p:oleObj name="Visio" r:id="rId2" imgW="4138707" imgH="4606587" progId="Visio.Drawing.11">
                    <p:embed/>
                    <p:pic>
                      <p:nvPicPr>
                        <p:cNvPr id="16" name="Object 4">
                          <a:extLst>
                            <a:ext uri="{FF2B5EF4-FFF2-40B4-BE49-F238E27FC236}">
                              <a16:creationId xmlns:a16="http://schemas.microsoft.com/office/drawing/2014/main" id="{0C7D8580-5C42-4870-B82D-19E862828E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6454" y="1035978"/>
                          <a:ext cx="3435698" cy="3824209"/>
                        </a:xfrm>
                        <a:prstGeom prst="rect">
                          <a:avLst/>
                        </a:prstGeom>
                        <a:noFill/>
                        <a:ln>
                          <a:noFill/>
                        </a:ln>
                        <a:effectLst/>
                      </p:spPr>
                    </p:pic>
                  </p:oleObj>
                </mc:Fallback>
              </mc:AlternateContent>
            </a:graphicData>
          </a:graphic>
        </p:graphicFrame>
        <p:sp>
          <p:nvSpPr>
            <p:cNvPr id="20" name="TextBox 19">
              <a:extLst>
                <a:ext uri="{FF2B5EF4-FFF2-40B4-BE49-F238E27FC236}">
                  <a16:creationId xmlns:a16="http://schemas.microsoft.com/office/drawing/2014/main" id="{063AD231-0325-42C6-9385-EB84A609620C}"/>
                </a:ext>
              </a:extLst>
            </p:cNvPr>
            <p:cNvSpPr txBox="1"/>
            <p:nvPr/>
          </p:nvSpPr>
          <p:spPr>
            <a:xfrm>
              <a:off x="2596481" y="2078984"/>
              <a:ext cx="175397" cy="179973"/>
            </a:xfrm>
            <a:prstGeom prst="rect">
              <a:avLst/>
            </a:prstGeom>
            <a:noFill/>
          </p:spPr>
          <p:txBody>
            <a:bodyPr wrap="square" lIns="0" tIns="0" rIns="0" bIns="0" rtlCol="0">
              <a:noAutofit/>
            </a:bodyPr>
            <a:lstStyle/>
            <a:p>
              <a:pPr>
                <a:lnSpc>
                  <a:spcPct val="110000"/>
                </a:lnSpc>
                <a:spcBef>
                  <a:spcPts val="0"/>
                </a:spcBef>
              </a:pPr>
              <a:r>
                <a:rPr lang="de-CH" sz="900">
                  <a:solidFill>
                    <a:schemeClr val="tx1"/>
                  </a:solidFill>
                  <a:latin typeface="+mn-lt"/>
                  <a:ea typeface="Arial Unicode MS" panose="020B0604020202020204" pitchFamily="34" charset="-128"/>
                  <a:cs typeface="Arial Unicode MS" panose="020B0604020202020204" pitchFamily="34" charset="-128"/>
                </a:rPr>
                <a:t>D1</a:t>
              </a:r>
              <a:endParaRPr lang="en-GB" sz="900">
                <a:solidFill>
                  <a:schemeClr val="tx1"/>
                </a:solidFill>
                <a:latin typeface="+mn-lt"/>
                <a:ea typeface="Arial Unicode MS" panose="020B0604020202020204" pitchFamily="34" charset="-128"/>
                <a:cs typeface="Arial Unicode MS" panose="020B0604020202020204" pitchFamily="34" charset="-128"/>
              </a:endParaRPr>
            </a:p>
          </p:txBody>
        </p:sp>
        <p:cxnSp>
          <p:nvCxnSpPr>
            <p:cNvPr id="27" name="Straight Arrow Connector 26">
              <a:extLst>
                <a:ext uri="{FF2B5EF4-FFF2-40B4-BE49-F238E27FC236}">
                  <a16:creationId xmlns:a16="http://schemas.microsoft.com/office/drawing/2014/main" id="{0D564C88-BA5A-4362-8564-0334077CABE3}"/>
                </a:ext>
              </a:extLst>
            </p:cNvPr>
            <p:cNvCxnSpPr>
              <a:cxnSpLocks/>
            </p:cNvCxnSpPr>
            <p:nvPr/>
          </p:nvCxnSpPr>
          <p:spPr bwMode="auto">
            <a:xfrm>
              <a:off x="2803789" y="2155781"/>
              <a:ext cx="323952" cy="0"/>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 name="TextBox 4">
              <a:extLst>
                <a:ext uri="{FF2B5EF4-FFF2-40B4-BE49-F238E27FC236}">
                  <a16:creationId xmlns:a16="http://schemas.microsoft.com/office/drawing/2014/main" id="{86B3B369-DA5D-4EF1-A634-946EE29B2D70}"/>
                </a:ext>
              </a:extLst>
            </p:cNvPr>
            <p:cNvSpPr txBox="1"/>
            <p:nvPr/>
          </p:nvSpPr>
          <p:spPr>
            <a:xfrm>
              <a:off x="2965765" y="1545195"/>
              <a:ext cx="1066825" cy="187424"/>
            </a:xfrm>
            <a:prstGeom prst="rect">
              <a:avLst/>
            </a:prstGeom>
            <a:noFill/>
          </p:spPr>
          <p:txBody>
            <a:bodyPr wrap="square" lIns="0" tIns="0" rIns="0" bIns="0" rtlCol="0">
              <a:spAutoFit/>
            </a:bodyPr>
            <a:lstStyle/>
            <a:p>
              <a:pPr>
                <a:lnSpc>
                  <a:spcPct val="110000"/>
                </a:lnSpc>
                <a:spcBef>
                  <a:spcPts val="0"/>
                </a:spcBef>
              </a:pPr>
              <a:r>
                <a:rPr lang="de-DE" altLang="zh-CN" sz="1200" err="1">
                  <a:solidFill>
                    <a:schemeClr val="tx1"/>
                  </a:solidFill>
                </a:rPr>
                <a:t>control</a:t>
              </a:r>
              <a:r>
                <a:rPr lang="de-DE" altLang="zh-CN" sz="1200">
                  <a:solidFill>
                    <a:schemeClr val="tx1"/>
                  </a:solidFill>
                </a:rPr>
                <a:t> </a:t>
              </a:r>
              <a:r>
                <a:rPr lang="de-DE" altLang="zh-CN" sz="1200" err="1">
                  <a:solidFill>
                    <a:schemeClr val="tx1"/>
                  </a:solidFill>
                </a:rPr>
                <a:t>logic</a:t>
              </a:r>
              <a:endParaRPr lang="de-CH" sz="1200">
                <a:solidFill>
                  <a:schemeClr val="tx1"/>
                </a:solidFill>
              </a:endParaRPr>
            </a:p>
          </p:txBody>
        </p:sp>
        <p:sp>
          <p:nvSpPr>
            <p:cNvPr id="23" name="Rectangle 3">
              <a:extLst>
                <a:ext uri="{FF2B5EF4-FFF2-40B4-BE49-F238E27FC236}">
                  <a16:creationId xmlns:a16="http://schemas.microsoft.com/office/drawing/2014/main" id="{1B73ECBD-5D13-4530-A601-19F0524AB75D}"/>
                </a:ext>
              </a:extLst>
            </p:cNvPr>
            <p:cNvSpPr txBox="1">
              <a:spLocks noChangeArrowheads="1"/>
            </p:cNvSpPr>
            <p:nvPr/>
          </p:nvSpPr>
          <p:spPr bwMode="auto">
            <a:xfrm>
              <a:off x="3430280" y="2948848"/>
              <a:ext cx="338253" cy="3905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88" lvl="1" indent="0">
                <a:buNone/>
              </a:pPr>
              <a:r>
                <a:rPr lang="en-US" altLang="en-US" sz="1600" kern="0" dirty="0"/>
                <a:t>b</a:t>
              </a:r>
            </a:p>
          </p:txBody>
        </p:sp>
        <p:sp>
          <p:nvSpPr>
            <p:cNvPr id="24" name="Rectangle 3">
              <a:extLst>
                <a:ext uri="{FF2B5EF4-FFF2-40B4-BE49-F238E27FC236}">
                  <a16:creationId xmlns:a16="http://schemas.microsoft.com/office/drawing/2014/main" id="{49D4A175-729D-4C7A-8ED6-44B92CB002D6}"/>
                </a:ext>
              </a:extLst>
            </p:cNvPr>
            <p:cNvSpPr txBox="1">
              <a:spLocks noChangeArrowheads="1"/>
            </p:cNvSpPr>
            <p:nvPr/>
          </p:nvSpPr>
          <p:spPr bwMode="auto">
            <a:xfrm>
              <a:off x="4169905" y="1922393"/>
              <a:ext cx="338253" cy="3905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88" lvl="1" indent="0">
                <a:buNone/>
              </a:pPr>
              <a:r>
                <a:rPr lang="en-US" altLang="en-US" sz="1600" kern="0" dirty="0"/>
                <a:t>c</a:t>
              </a:r>
            </a:p>
          </p:txBody>
        </p:sp>
        <p:sp>
          <p:nvSpPr>
            <p:cNvPr id="25" name="Rectangle 3">
              <a:extLst>
                <a:ext uri="{FF2B5EF4-FFF2-40B4-BE49-F238E27FC236}">
                  <a16:creationId xmlns:a16="http://schemas.microsoft.com/office/drawing/2014/main" id="{16E7EBDB-0A4D-465A-8831-489BAE62E0EA}"/>
                </a:ext>
              </a:extLst>
            </p:cNvPr>
            <p:cNvSpPr txBox="1">
              <a:spLocks noChangeArrowheads="1"/>
            </p:cNvSpPr>
            <p:nvPr/>
          </p:nvSpPr>
          <p:spPr bwMode="auto">
            <a:xfrm>
              <a:off x="4169905" y="2438999"/>
              <a:ext cx="338253" cy="3905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88" lvl="1" indent="0">
                <a:buNone/>
              </a:pPr>
              <a:r>
                <a:rPr lang="en-US" altLang="en-US" sz="1600" kern="0" dirty="0"/>
                <a:t>d</a:t>
              </a:r>
            </a:p>
          </p:txBody>
        </p:sp>
        <p:sp>
          <p:nvSpPr>
            <p:cNvPr id="28" name="Rectangle 3">
              <a:extLst>
                <a:ext uri="{FF2B5EF4-FFF2-40B4-BE49-F238E27FC236}">
                  <a16:creationId xmlns:a16="http://schemas.microsoft.com/office/drawing/2014/main" id="{C65A48A6-9820-4A67-8313-6833D5639765}"/>
                </a:ext>
              </a:extLst>
            </p:cNvPr>
            <p:cNvSpPr txBox="1">
              <a:spLocks noChangeArrowheads="1"/>
            </p:cNvSpPr>
            <p:nvPr/>
          </p:nvSpPr>
          <p:spPr bwMode="auto">
            <a:xfrm>
              <a:off x="4615111" y="3655861"/>
              <a:ext cx="338253" cy="3905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88" lvl="1" indent="0">
                <a:buNone/>
              </a:pPr>
              <a:r>
                <a:rPr lang="en-US" altLang="en-US" sz="1600" kern="0" dirty="0"/>
                <a:t>e</a:t>
              </a:r>
            </a:p>
          </p:txBody>
        </p:sp>
        <p:sp>
          <p:nvSpPr>
            <p:cNvPr id="29" name="Rectangle 3">
              <a:extLst>
                <a:ext uri="{FF2B5EF4-FFF2-40B4-BE49-F238E27FC236}">
                  <a16:creationId xmlns:a16="http://schemas.microsoft.com/office/drawing/2014/main" id="{D7DAA3EA-544C-4AF8-9D83-DCEBB42C86E7}"/>
                </a:ext>
              </a:extLst>
            </p:cNvPr>
            <p:cNvSpPr txBox="1">
              <a:spLocks noChangeArrowheads="1"/>
            </p:cNvSpPr>
            <p:nvPr/>
          </p:nvSpPr>
          <p:spPr bwMode="auto">
            <a:xfrm>
              <a:off x="2524491" y="1831541"/>
              <a:ext cx="338253" cy="3905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88" lvl="1" indent="0">
                <a:buNone/>
              </a:pPr>
              <a:r>
                <a:rPr lang="en-US" altLang="en-US" sz="1600" kern="0" dirty="0"/>
                <a:t>a</a:t>
              </a:r>
            </a:p>
          </p:txBody>
        </p:sp>
      </p:grpSp>
      <p:sp>
        <p:nvSpPr>
          <p:cNvPr id="21" name="Textfeld 337">
            <a:extLst>
              <a:ext uri="{FF2B5EF4-FFF2-40B4-BE49-F238E27FC236}">
                <a16:creationId xmlns:a16="http://schemas.microsoft.com/office/drawing/2014/main" id="{04581736-AE4E-4ABF-AB78-C9A028E0B466}"/>
              </a:ext>
            </a:extLst>
          </p:cNvPr>
          <p:cNvSpPr txBox="1"/>
          <p:nvPr/>
        </p:nvSpPr>
        <p:spPr>
          <a:xfrm>
            <a:off x="-2541" y="4636355"/>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Alarming</a:t>
            </a:r>
            <a:endParaRPr lang="en-US" sz="1100" b="0" u="none" strike="noStrike" kern="1200" dirty="0">
              <a:effectLst/>
              <a:latin typeface="+mj-lt"/>
              <a:ea typeface="+mn-ea"/>
            </a:endParaRPr>
          </a:p>
        </p:txBody>
      </p:sp>
    </p:spTree>
    <p:extLst>
      <p:ext uri="{BB962C8B-B14F-4D97-AF65-F5344CB8AC3E}">
        <p14:creationId xmlns:p14="http://schemas.microsoft.com/office/powerpoint/2010/main" val="363519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a:extLst>
              <a:ext uri="{FF2B5EF4-FFF2-40B4-BE49-F238E27FC236}">
                <a16:creationId xmlns:a16="http://schemas.microsoft.com/office/drawing/2014/main" id="{931BCE60-6EDF-4570-A39F-231E7169FF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6392" y="2103934"/>
            <a:ext cx="9466084" cy="3581979"/>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br>
              <a:rPr lang="en-US" noProof="0"/>
            </a:br>
            <a:endParaRPr lang="en-US" noProof="0"/>
          </a:p>
        </p:txBody>
      </p:sp>
      <p:sp>
        <p:nvSpPr>
          <p:cNvPr id="3" name="Rectangle 3">
            <a:extLst>
              <a:ext uri="{FF2B5EF4-FFF2-40B4-BE49-F238E27FC236}">
                <a16:creationId xmlns:a16="http://schemas.microsoft.com/office/drawing/2014/main" id="{50E17820-B62F-4719-80D9-FEC26EF1D72C}"/>
              </a:ext>
            </a:extLst>
          </p:cNvPr>
          <p:cNvSpPr txBox="1">
            <a:spLocks noChangeArrowheads="1"/>
          </p:cNvSpPr>
          <p:nvPr/>
        </p:nvSpPr>
        <p:spPr bwMode="auto">
          <a:xfrm>
            <a:off x="2295561" y="718031"/>
            <a:ext cx="9768284" cy="15183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buFont typeface="Wingdings" panose="05000000000000000000" pitchFamily="2" charset="2"/>
              <a:buChar char="§"/>
            </a:pPr>
            <a:r>
              <a:rPr lang="en-US" altLang="en-US" sz="1600" kern="0" dirty="0"/>
              <a:t>Many automation objects support alarm functionality.</a:t>
            </a:r>
          </a:p>
          <a:p>
            <a:pPr lvl="1">
              <a:buFont typeface="Wingdings" panose="05000000000000000000" pitchFamily="2" charset="2"/>
              <a:buChar char="§"/>
            </a:pPr>
            <a:r>
              <a:rPr lang="en-US" altLang="en-US" sz="1600" kern="0" dirty="0"/>
              <a:t>The objects that can generate alarms have an output called “</a:t>
            </a:r>
            <a:r>
              <a:rPr lang="en-US" altLang="en-US" sz="1600" b="1" kern="0" dirty="0"/>
              <a:t>Status</a:t>
            </a:r>
            <a:r>
              <a:rPr lang="en-US" altLang="en-US" sz="1600" kern="0" dirty="0"/>
              <a:t>”.</a:t>
            </a:r>
          </a:p>
          <a:p>
            <a:pPr lvl="1">
              <a:buFont typeface="Wingdings" panose="05000000000000000000" pitchFamily="2" charset="2"/>
              <a:buChar char="§"/>
            </a:pPr>
            <a:r>
              <a:rPr lang="en-US" altLang="en-US" sz="1600" kern="0" dirty="0"/>
              <a:t>The “</a:t>
            </a:r>
            <a:r>
              <a:rPr lang="en-US" altLang="en-US" sz="1600" b="1" kern="0" dirty="0"/>
              <a:t>Status</a:t>
            </a:r>
            <a:r>
              <a:rPr lang="en-US" altLang="en-US" sz="1600" kern="0" dirty="0"/>
              <a:t>” output of the binary Input provides information about the actual alarm state of the object.</a:t>
            </a:r>
          </a:p>
          <a:p>
            <a:pPr lvl="1">
              <a:buFont typeface="Wingdings" panose="05000000000000000000" pitchFamily="2" charset="2"/>
              <a:buChar char="§"/>
            </a:pPr>
            <a:r>
              <a:rPr lang="en-US" altLang="en-US" sz="1600" kern="0" dirty="0"/>
              <a:t>The “</a:t>
            </a:r>
            <a:r>
              <a:rPr lang="en-US" altLang="en-US" sz="1600" b="1" kern="0" dirty="0"/>
              <a:t>Status Evaluation</a:t>
            </a:r>
            <a:r>
              <a:rPr lang="en-US" altLang="en-US" sz="1600" kern="0" dirty="0"/>
              <a:t> </a:t>
            </a:r>
            <a:r>
              <a:rPr lang="en-US" altLang="en-US" sz="1600" b="1" kern="0" dirty="0"/>
              <a:t>object</a:t>
            </a:r>
            <a:r>
              <a:rPr lang="en-US" altLang="en-US" sz="1600" kern="0" dirty="0"/>
              <a:t>”</a:t>
            </a:r>
            <a:r>
              <a:rPr lang="en-US" altLang="en-US" sz="1600" b="1" kern="0" dirty="0"/>
              <a:t> </a:t>
            </a:r>
            <a:r>
              <a:rPr lang="en-US" altLang="en-US" sz="1600" kern="0" dirty="0"/>
              <a:t>is used to transform the ‘Status’ signal to multiple </a:t>
            </a:r>
            <a:r>
              <a:rPr lang="en-US" altLang="en-US" sz="1600" kern="0" dirty="0" err="1"/>
              <a:t>boolean</a:t>
            </a:r>
            <a:r>
              <a:rPr lang="en-US" altLang="en-US" sz="1600" kern="0" dirty="0"/>
              <a:t> signals, in order to incorporate reactions into the application program.</a:t>
            </a:r>
          </a:p>
        </p:txBody>
      </p:sp>
      <p:sp>
        <p:nvSpPr>
          <p:cNvPr id="43" name="cdtText Box 4 Id114692">
            <a:extLst>
              <a:ext uri="{FF2B5EF4-FFF2-40B4-BE49-F238E27FC236}">
                <a16:creationId xmlns:a16="http://schemas.microsoft.com/office/drawing/2014/main" id="{98A43F71-6AED-4674-9845-05F3AB688E7C}"/>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Status evaluation object </a:t>
            </a:r>
          </a:p>
        </p:txBody>
      </p:sp>
      <p:sp>
        <p:nvSpPr>
          <p:cNvPr id="20" name="Rectangle 3">
            <a:extLst>
              <a:ext uri="{FF2B5EF4-FFF2-40B4-BE49-F238E27FC236}">
                <a16:creationId xmlns:a16="http://schemas.microsoft.com/office/drawing/2014/main" id="{36BB1D5C-9FDE-4F18-8845-DE9002303739}"/>
              </a:ext>
            </a:extLst>
          </p:cNvPr>
          <p:cNvSpPr txBox="1">
            <a:spLocks noChangeArrowheads="1"/>
          </p:cNvSpPr>
          <p:nvPr/>
        </p:nvSpPr>
        <p:spPr bwMode="auto">
          <a:xfrm>
            <a:off x="2409135" y="5785092"/>
            <a:ext cx="5591087" cy="70975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88" lvl="1" indent="0">
              <a:buClrTx/>
              <a:buNone/>
            </a:pPr>
            <a:r>
              <a:rPr lang="en-US" altLang="en-US" sz="1400" i="1" kern="0" dirty="0"/>
              <a:t>Addition information about select setting of ‘</a:t>
            </a:r>
            <a:r>
              <a:rPr lang="en-US" altLang="en-US" sz="1400" i="1" kern="0" dirty="0" err="1"/>
              <a:t>StatusEval</a:t>
            </a:r>
            <a:r>
              <a:rPr lang="en-US" altLang="en-US" sz="1400" i="1" kern="0" dirty="0"/>
              <a:t>’ object is to be found in technical documentation.</a:t>
            </a:r>
            <a:endParaRPr lang="en-US" altLang="en-US" sz="1600" i="1" kern="0" dirty="0"/>
          </a:p>
        </p:txBody>
      </p:sp>
      <p:sp>
        <p:nvSpPr>
          <p:cNvPr id="9" name="Textfeld 337">
            <a:extLst>
              <a:ext uri="{FF2B5EF4-FFF2-40B4-BE49-F238E27FC236}">
                <a16:creationId xmlns:a16="http://schemas.microsoft.com/office/drawing/2014/main" id="{8496817A-3AA4-4E49-88F1-846E989464B3}"/>
              </a:ext>
            </a:extLst>
          </p:cNvPr>
          <p:cNvSpPr txBox="1"/>
          <p:nvPr/>
        </p:nvSpPr>
        <p:spPr>
          <a:xfrm>
            <a:off x="-2541" y="4636355"/>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Alarming</a:t>
            </a:r>
            <a:endParaRPr lang="en-US" sz="1100" b="0" u="none" strike="noStrike" kern="1200" dirty="0">
              <a:effectLst/>
              <a:latin typeface="+mj-lt"/>
              <a:ea typeface="+mn-ea"/>
            </a:endParaRPr>
          </a:p>
        </p:txBody>
      </p:sp>
      <p:sp>
        <p:nvSpPr>
          <p:cNvPr id="10" name="Rectangle 17">
            <a:extLst>
              <a:ext uri="{FF2B5EF4-FFF2-40B4-BE49-F238E27FC236}">
                <a16:creationId xmlns:a16="http://schemas.microsoft.com/office/drawing/2014/main" id="{608CFFE1-496F-4D54-A173-E3451D9BF9E1}"/>
              </a:ext>
            </a:extLst>
          </p:cNvPr>
          <p:cNvSpPr>
            <a:spLocks noChangeArrowheads="1"/>
          </p:cNvSpPr>
          <p:nvPr/>
        </p:nvSpPr>
        <p:spPr bwMode="auto">
          <a:xfrm>
            <a:off x="5463086" y="3336289"/>
            <a:ext cx="2537136" cy="1640825"/>
          </a:xfrm>
          <a:prstGeom prst="rect">
            <a:avLst/>
          </a:prstGeom>
          <a:noFill/>
          <a:ln w="57150">
            <a:solidFill>
              <a:srgbClr val="0080B6"/>
            </a:solidFill>
          </a:ln>
          <a:effectLst/>
        </p:spPr>
        <p:txBody>
          <a:bodyPr wrap="square" lIns="108000" tIns="54000" rIns="36000" bIns="54000" numCol="1" spcCol="72000" rtlCol="0" anchor="ctr">
            <a:no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l">
              <a:lnSpc>
                <a:spcPct val="110000"/>
              </a:lnSpc>
              <a:spcBef>
                <a:spcPct val="0"/>
              </a:spcBef>
            </a:pPr>
            <a:endParaRPr lang="en-US" altLang="en-US">
              <a:solidFill>
                <a:schemeClr val="bg1"/>
              </a:solidFill>
            </a:endParaRPr>
          </a:p>
        </p:txBody>
      </p:sp>
      <p:sp>
        <p:nvSpPr>
          <p:cNvPr id="11" name="Text Box 16">
            <a:extLst>
              <a:ext uri="{FF2B5EF4-FFF2-40B4-BE49-F238E27FC236}">
                <a16:creationId xmlns:a16="http://schemas.microsoft.com/office/drawing/2014/main" id="{9A5B458B-A369-4754-A310-AD31606BE8F0}"/>
              </a:ext>
            </a:extLst>
          </p:cNvPr>
          <p:cNvSpPr txBox="1">
            <a:spLocks noChangeArrowheads="1"/>
          </p:cNvSpPr>
          <p:nvPr/>
        </p:nvSpPr>
        <p:spPr bwMode="auto">
          <a:xfrm>
            <a:off x="5463086" y="2966967"/>
            <a:ext cx="25371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spcBef>
                <a:spcPct val="50000"/>
              </a:spcBef>
              <a:buFontTx/>
              <a:buNone/>
            </a:pPr>
            <a:r>
              <a:rPr lang="de-CH" altLang="en-US" sz="1400" b="1" dirty="0">
                <a:latin typeface="Arial Unicode MS" panose="020B0604020202020204" pitchFamily="34" charset="-128"/>
                <a:ea typeface="Arial Unicode MS" panose="020B0604020202020204" pitchFamily="34" charset="-128"/>
                <a:cs typeface="Arial Unicode MS" panose="020B0604020202020204" pitchFamily="34" charset="-128"/>
              </a:rPr>
              <a:t>Status evaluation object</a:t>
            </a:r>
          </a:p>
        </p:txBody>
      </p:sp>
    </p:spTree>
    <p:extLst>
      <p:ext uri="{BB962C8B-B14F-4D97-AF65-F5344CB8AC3E}">
        <p14:creationId xmlns:p14="http://schemas.microsoft.com/office/powerpoint/2010/main" val="324226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br>
              <a:rPr lang="en-US" noProof="0"/>
            </a:br>
            <a:endParaRPr lang="en-US" noProof="0"/>
          </a:p>
        </p:txBody>
      </p:sp>
      <p:sp>
        <p:nvSpPr>
          <p:cNvPr id="3" name="Rectangle 3">
            <a:extLst>
              <a:ext uri="{FF2B5EF4-FFF2-40B4-BE49-F238E27FC236}">
                <a16:creationId xmlns:a16="http://schemas.microsoft.com/office/drawing/2014/main" id="{50E17820-B62F-4719-80D9-FEC26EF1D72C}"/>
              </a:ext>
            </a:extLst>
          </p:cNvPr>
          <p:cNvSpPr txBox="1">
            <a:spLocks noChangeArrowheads="1"/>
          </p:cNvSpPr>
          <p:nvPr/>
        </p:nvSpPr>
        <p:spPr bwMode="auto">
          <a:xfrm>
            <a:off x="2461596" y="3521275"/>
            <a:ext cx="4494734" cy="31473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88" lvl="1" indent="0">
              <a:buNone/>
            </a:pPr>
            <a:r>
              <a:rPr lang="en-US" altLang="en-US" sz="1400" kern="0" dirty="0"/>
              <a:t>There are two release behaviors of alarms:</a:t>
            </a:r>
          </a:p>
          <a:p>
            <a:pPr lvl="1">
              <a:buFont typeface="Wingdings" panose="05000000000000000000" pitchFamily="2" charset="2"/>
              <a:buChar char="§"/>
            </a:pPr>
            <a:endParaRPr lang="en-US" altLang="en-US" sz="1400" kern="0" dirty="0"/>
          </a:p>
          <a:p>
            <a:pPr lvl="1">
              <a:buFont typeface="Wingdings" panose="05000000000000000000" pitchFamily="2" charset="2"/>
              <a:buChar char="§"/>
            </a:pPr>
            <a:r>
              <a:rPr lang="en-US" altLang="en-US" sz="1400" b="1" kern="0" dirty="0"/>
              <a:t>Self release </a:t>
            </a:r>
            <a:r>
              <a:rPr lang="en-US" altLang="en-US" sz="1400" kern="0" dirty="0"/>
              <a:t>alarms – these alarms disappear automatically after the source of the alarm (event which generates alarm) is solved, normally these alarms </a:t>
            </a:r>
            <a:r>
              <a:rPr lang="en-US" altLang="en-US" sz="1400" b="1" kern="0" dirty="0"/>
              <a:t>need no acknowledge</a:t>
            </a:r>
          </a:p>
          <a:p>
            <a:pPr lvl="1">
              <a:buFont typeface="Wingdings" panose="05000000000000000000" pitchFamily="2" charset="2"/>
              <a:buChar char="§"/>
            </a:pPr>
            <a:endParaRPr lang="en-US" altLang="en-US" sz="1400" kern="0" dirty="0"/>
          </a:p>
          <a:p>
            <a:pPr lvl="1">
              <a:buFont typeface="Wingdings" panose="05000000000000000000" pitchFamily="2" charset="2"/>
              <a:buChar char="§"/>
            </a:pPr>
            <a:r>
              <a:rPr lang="en-US" altLang="en-US" sz="1400" b="1" kern="0" dirty="0"/>
              <a:t>Not self release </a:t>
            </a:r>
            <a:r>
              <a:rPr lang="en-US" altLang="en-US" sz="1400" kern="0" dirty="0"/>
              <a:t>alarms – these alarms stay in your alarm list and the programmed reaction in the application still continues after the source of the event (event which generates alarm) is solved. These alarms need always a manual acknowledge to go back to normal.</a:t>
            </a:r>
          </a:p>
        </p:txBody>
      </p:sp>
      <p:grpSp>
        <p:nvGrpSpPr>
          <p:cNvPr id="6" name="Gruppieren 5">
            <a:extLst>
              <a:ext uri="{FF2B5EF4-FFF2-40B4-BE49-F238E27FC236}">
                <a16:creationId xmlns:a16="http://schemas.microsoft.com/office/drawing/2014/main" id="{8363AC73-89BB-4BA6-B05E-2D0E9152F51E}"/>
              </a:ext>
            </a:extLst>
          </p:cNvPr>
          <p:cNvGrpSpPr/>
          <p:nvPr/>
        </p:nvGrpSpPr>
        <p:grpSpPr>
          <a:xfrm>
            <a:off x="4466386" y="622853"/>
            <a:ext cx="7448323" cy="2729947"/>
            <a:chOff x="6882465" y="2756453"/>
            <a:chExt cx="5046397" cy="2043267"/>
          </a:xfrm>
        </p:grpSpPr>
        <p:pic>
          <p:nvPicPr>
            <p:cNvPr id="4" name="Picture 3">
              <a:extLst>
                <a:ext uri="{FF2B5EF4-FFF2-40B4-BE49-F238E27FC236}">
                  <a16:creationId xmlns:a16="http://schemas.microsoft.com/office/drawing/2014/main" id="{637E4941-E587-4FF2-9C40-9B45A22B726E}"/>
                </a:ext>
              </a:extLst>
            </p:cNvPr>
            <p:cNvPicPr>
              <a:picLocks noChangeAspect="1"/>
            </p:cNvPicPr>
            <p:nvPr/>
          </p:nvPicPr>
          <p:blipFill>
            <a:blip r:embed="rId2"/>
            <a:stretch>
              <a:fillRect/>
            </a:stretch>
          </p:blipFill>
          <p:spPr>
            <a:xfrm>
              <a:off x="9878432" y="2756453"/>
              <a:ext cx="2050430" cy="1979705"/>
            </a:xfrm>
            <a:prstGeom prst="rect">
              <a:avLst/>
            </a:prstGeom>
          </p:spPr>
        </p:pic>
        <p:sp>
          <p:nvSpPr>
            <p:cNvPr id="5" name="Rectangle 17">
              <a:extLst>
                <a:ext uri="{FF2B5EF4-FFF2-40B4-BE49-F238E27FC236}">
                  <a16:creationId xmlns:a16="http://schemas.microsoft.com/office/drawing/2014/main" id="{B47A159C-59AB-479F-82A9-ECECEBFEBEB8}"/>
                </a:ext>
              </a:extLst>
            </p:cNvPr>
            <p:cNvSpPr>
              <a:spLocks noChangeArrowheads="1"/>
            </p:cNvSpPr>
            <p:nvPr/>
          </p:nvSpPr>
          <p:spPr bwMode="auto">
            <a:xfrm>
              <a:off x="9974581" y="3702597"/>
              <a:ext cx="704850" cy="153123"/>
            </a:xfrm>
            <a:prstGeom prst="rect">
              <a:avLst/>
            </a:prstGeom>
            <a:noFill/>
            <a:ln w="57150">
              <a:solidFill>
                <a:srgbClr val="0080B6"/>
              </a:solidFill>
            </a:ln>
            <a:effectLst/>
          </p:spPr>
          <p:txBody>
            <a:bodyPr wrap="square" lIns="108000" tIns="54000" rIns="36000" bIns="54000" numCol="1" spcCol="72000" rtlCol="0" anchor="ctr">
              <a:no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l">
                <a:lnSpc>
                  <a:spcPct val="110000"/>
                </a:lnSpc>
                <a:spcBef>
                  <a:spcPct val="0"/>
                </a:spcBef>
              </a:pPr>
              <a:endParaRPr lang="en-US" altLang="en-US">
                <a:solidFill>
                  <a:schemeClr val="bg1"/>
                </a:solidFill>
              </a:endParaRPr>
            </a:p>
          </p:txBody>
        </p:sp>
        <p:pic>
          <p:nvPicPr>
            <p:cNvPr id="18" name="Picture 17">
              <a:extLst>
                <a:ext uri="{FF2B5EF4-FFF2-40B4-BE49-F238E27FC236}">
                  <a16:creationId xmlns:a16="http://schemas.microsoft.com/office/drawing/2014/main" id="{1F091D5C-073C-4479-8E6A-FC66DD6A76F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82465" y="2767461"/>
              <a:ext cx="2783546" cy="2032259"/>
            </a:xfrm>
            <a:prstGeom prst="rect">
              <a:avLst/>
            </a:prstGeom>
          </p:spPr>
        </p:pic>
        <p:cxnSp>
          <p:nvCxnSpPr>
            <p:cNvPr id="19" name="Straight Arrow Connector 18">
              <a:extLst>
                <a:ext uri="{FF2B5EF4-FFF2-40B4-BE49-F238E27FC236}">
                  <a16:creationId xmlns:a16="http://schemas.microsoft.com/office/drawing/2014/main" id="{36C08AFF-3774-4B00-99AD-93DE75F38142}"/>
                </a:ext>
              </a:extLst>
            </p:cNvPr>
            <p:cNvCxnSpPr>
              <a:cxnSpLocks/>
            </p:cNvCxnSpPr>
            <p:nvPr/>
          </p:nvCxnSpPr>
          <p:spPr bwMode="auto">
            <a:xfrm flipV="1">
              <a:off x="8876146" y="3347885"/>
              <a:ext cx="1002286" cy="1"/>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40" name="cdtText Box 4 Id114692">
            <a:extLst>
              <a:ext uri="{FF2B5EF4-FFF2-40B4-BE49-F238E27FC236}">
                <a16:creationId xmlns:a16="http://schemas.microsoft.com/office/drawing/2014/main" id="{71539A82-79B2-499B-9746-9069D4C5507A}"/>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a:solidFill>
                  <a:schemeClr val="bg1"/>
                </a:solidFill>
              </a:rPr>
              <a:t>Alarm release behavior</a:t>
            </a:r>
          </a:p>
        </p:txBody>
      </p:sp>
      <p:pic>
        <p:nvPicPr>
          <p:cNvPr id="10" name="Picture 9">
            <a:extLst>
              <a:ext uri="{FF2B5EF4-FFF2-40B4-BE49-F238E27FC236}">
                <a16:creationId xmlns:a16="http://schemas.microsoft.com/office/drawing/2014/main" id="{D7000CD7-AE8E-4D3B-83AA-9A77DD38B160}"/>
              </a:ext>
            </a:extLst>
          </p:cNvPr>
          <p:cNvPicPr>
            <a:picLocks noChangeAspect="1"/>
          </p:cNvPicPr>
          <p:nvPr/>
        </p:nvPicPr>
        <p:blipFill>
          <a:blip r:embed="rId4"/>
          <a:stretch>
            <a:fillRect/>
          </a:stretch>
        </p:blipFill>
        <p:spPr>
          <a:xfrm>
            <a:off x="2243166" y="622853"/>
            <a:ext cx="2139460" cy="1130281"/>
          </a:xfrm>
          <a:prstGeom prst="rect">
            <a:avLst/>
          </a:prstGeom>
        </p:spPr>
      </p:pic>
      <p:sp>
        <p:nvSpPr>
          <p:cNvPr id="12" name="Textfeld 337">
            <a:extLst>
              <a:ext uri="{FF2B5EF4-FFF2-40B4-BE49-F238E27FC236}">
                <a16:creationId xmlns:a16="http://schemas.microsoft.com/office/drawing/2014/main" id="{732CC5CA-B5FC-461D-B386-17F8D5FA3DFE}"/>
              </a:ext>
            </a:extLst>
          </p:cNvPr>
          <p:cNvSpPr txBox="1"/>
          <p:nvPr/>
        </p:nvSpPr>
        <p:spPr>
          <a:xfrm>
            <a:off x="-2541" y="4636355"/>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Alarming</a:t>
            </a:r>
            <a:endParaRPr lang="en-US" sz="1100" b="0" u="none" strike="noStrike" kern="1200" dirty="0">
              <a:effectLst/>
              <a:latin typeface="+mj-lt"/>
              <a:ea typeface="+mn-ea"/>
            </a:endParaRPr>
          </a:p>
        </p:txBody>
      </p:sp>
      <p:sp>
        <p:nvSpPr>
          <p:cNvPr id="13" name="Rectangle 3">
            <a:extLst>
              <a:ext uri="{FF2B5EF4-FFF2-40B4-BE49-F238E27FC236}">
                <a16:creationId xmlns:a16="http://schemas.microsoft.com/office/drawing/2014/main" id="{6B9A4395-6C8D-4037-9A90-1770EB2F2E33}"/>
              </a:ext>
            </a:extLst>
          </p:cNvPr>
          <p:cNvSpPr txBox="1">
            <a:spLocks noChangeArrowheads="1"/>
          </p:cNvSpPr>
          <p:nvPr/>
        </p:nvSpPr>
        <p:spPr bwMode="auto">
          <a:xfrm>
            <a:off x="7220174" y="3945243"/>
            <a:ext cx="4108426" cy="16044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buFont typeface="Wingdings" panose="05000000000000000000" pitchFamily="2" charset="2"/>
              <a:buChar char="§"/>
            </a:pPr>
            <a:r>
              <a:rPr lang="en-US" altLang="en-US" sz="1400" dirty="0"/>
              <a:t>By </a:t>
            </a:r>
            <a:r>
              <a:rPr lang="en-US" altLang="en-US" sz="1400" b="1" dirty="0"/>
              <a:t>default</a:t>
            </a:r>
            <a:r>
              <a:rPr lang="en-US" altLang="en-US" sz="1400" dirty="0"/>
              <a:t> all alarms are </a:t>
            </a:r>
            <a:r>
              <a:rPr lang="en-US" altLang="en-US" sz="1400" b="1" dirty="0"/>
              <a:t>self release</a:t>
            </a:r>
            <a:r>
              <a:rPr lang="en-US" altLang="en-US" sz="1400" dirty="0"/>
              <a:t>, if you want to change it, use the member “</a:t>
            </a:r>
            <a:r>
              <a:rPr lang="en-US" altLang="en-US" sz="1400" dirty="0" err="1"/>
              <a:t>EventConfig</a:t>
            </a:r>
            <a:r>
              <a:rPr lang="en-US" altLang="en-US" sz="1400" dirty="0"/>
              <a:t>” and the ”Change Bitfield” dialog “</a:t>
            </a:r>
            <a:r>
              <a:rPr lang="en-US" altLang="en-US" sz="1400" dirty="0" err="1"/>
              <a:t>AlarmConfig</a:t>
            </a:r>
            <a:r>
              <a:rPr lang="en-US" altLang="en-US" sz="1400" dirty="0"/>
              <a:t>”.</a:t>
            </a:r>
            <a:endParaRPr lang="en-US" altLang="en-US" sz="1400" kern="0" dirty="0"/>
          </a:p>
        </p:txBody>
      </p:sp>
    </p:spTree>
    <p:extLst>
      <p:ext uri="{BB962C8B-B14F-4D97-AF65-F5344CB8AC3E}">
        <p14:creationId xmlns:p14="http://schemas.microsoft.com/office/powerpoint/2010/main" val="70957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6" name="Picture 185">
            <a:extLst>
              <a:ext uri="{FF2B5EF4-FFF2-40B4-BE49-F238E27FC236}">
                <a16:creationId xmlns:a16="http://schemas.microsoft.com/office/drawing/2014/main" id="{AA1F9A0C-1963-4335-9CBE-7DF1A48B16F0}"/>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948876" y="143981"/>
            <a:ext cx="5196679" cy="3469883"/>
          </a:xfrm>
          <a:prstGeom prst="rect">
            <a:avLst/>
          </a:prstGeom>
        </p:spPr>
      </p:pic>
      <p:sp>
        <p:nvSpPr>
          <p:cNvPr id="2" name="Titel 1"/>
          <p:cNvSpPr>
            <a:spLocks noGrp="1"/>
          </p:cNvSpPr>
          <p:nvPr>
            <p:ph type="title"/>
          </p:nvPr>
        </p:nvSpPr>
        <p:spPr/>
        <p:txBody>
          <a:bodyPr/>
          <a:lstStyle/>
          <a:p>
            <a:br>
              <a:rPr lang="en-US"/>
            </a:br>
            <a:endParaRPr lang="en-US" noProof="0"/>
          </a:p>
        </p:txBody>
      </p:sp>
      <p:sp>
        <p:nvSpPr>
          <p:cNvPr id="47" name="cdtText Box 4 Id114692">
            <a:extLst>
              <a:ext uri="{FF2B5EF4-FFF2-40B4-BE49-F238E27FC236}">
                <a16:creationId xmlns:a16="http://schemas.microsoft.com/office/drawing/2014/main" id="{280AB5EB-1010-4300-AABD-DD8BF9A2B905}"/>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a:solidFill>
                  <a:schemeClr val="bg1"/>
                </a:solidFill>
              </a:rPr>
              <a:t>Example Application</a:t>
            </a:r>
          </a:p>
        </p:txBody>
      </p:sp>
      <p:sp>
        <p:nvSpPr>
          <p:cNvPr id="3" name="Oval 2">
            <a:extLst>
              <a:ext uri="{FF2B5EF4-FFF2-40B4-BE49-F238E27FC236}">
                <a16:creationId xmlns:a16="http://schemas.microsoft.com/office/drawing/2014/main" id="{6F6B2F90-411C-4CE0-87D6-8540C7987061}"/>
              </a:ext>
            </a:extLst>
          </p:cNvPr>
          <p:cNvSpPr/>
          <p:nvPr/>
        </p:nvSpPr>
        <p:spPr bwMode="auto">
          <a:xfrm>
            <a:off x="10651335" y="2497502"/>
            <a:ext cx="409889" cy="409889"/>
          </a:xfrm>
          <a:prstGeom prst="ellipse">
            <a:avLst/>
          </a:prstGeom>
          <a:solidFill>
            <a:schemeClr val="accent3"/>
          </a:solidFill>
          <a:ln w="38100">
            <a:solidFill>
              <a:srgbClr val="4A6274"/>
            </a:solidFill>
          </a:ln>
          <a:effectLst/>
        </p:spPr>
        <p:txBody>
          <a:bodyPr wrap="square" lIns="0" tIns="0" rIns="0" bIns="0" numCol="1" spcCol="72000" rtlCol="0" anchor="ctr">
            <a:noAutofit/>
          </a:bodyPr>
          <a:lstStyle/>
          <a:p>
            <a:pPr>
              <a:lnSpc>
                <a:spcPct val="110000"/>
              </a:lnSpc>
              <a:spcBef>
                <a:spcPct val="0"/>
              </a:spcBef>
            </a:pPr>
            <a:r>
              <a:rPr lang="en-US" b="1">
                <a:solidFill>
                  <a:schemeClr val="tx1"/>
                </a:solidFill>
              </a:rPr>
              <a:t>T</a:t>
            </a:r>
          </a:p>
        </p:txBody>
      </p:sp>
      <p:pic>
        <p:nvPicPr>
          <p:cNvPr id="109" name="Picture 108">
            <a:extLst>
              <a:ext uri="{FF2B5EF4-FFF2-40B4-BE49-F238E27FC236}">
                <a16:creationId xmlns:a16="http://schemas.microsoft.com/office/drawing/2014/main" id="{74CF508A-544C-41D6-9E1F-4013AA2E7F87}"/>
              </a:ext>
            </a:extLst>
          </p:cNvPr>
          <p:cNvPicPr>
            <a:picLocks noChangeAspect="1"/>
          </p:cNvPicPr>
          <p:nvPr/>
        </p:nvPicPr>
        <p:blipFill>
          <a:blip r:embed="rId3"/>
          <a:stretch>
            <a:fillRect/>
          </a:stretch>
        </p:blipFill>
        <p:spPr>
          <a:xfrm>
            <a:off x="12275933" y="1926917"/>
            <a:ext cx="1392401" cy="739670"/>
          </a:xfrm>
          <a:prstGeom prst="rect">
            <a:avLst/>
          </a:prstGeom>
        </p:spPr>
      </p:pic>
      <p:cxnSp>
        <p:nvCxnSpPr>
          <p:cNvPr id="122" name="Straight Connector 121">
            <a:extLst>
              <a:ext uri="{FF2B5EF4-FFF2-40B4-BE49-F238E27FC236}">
                <a16:creationId xmlns:a16="http://schemas.microsoft.com/office/drawing/2014/main" id="{C3086CB0-065E-48E4-B87A-2BE477F02150}"/>
              </a:ext>
            </a:extLst>
          </p:cNvPr>
          <p:cNvCxnSpPr/>
          <p:nvPr/>
        </p:nvCxnSpPr>
        <p:spPr bwMode="auto">
          <a:xfrm>
            <a:off x="7512570" y="2294237"/>
            <a:ext cx="3930717" cy="0"/>
          </a:xfrm>
          <a:prstGeom prst="line">
            <a:avLst/>
          </a:prstGeom>
          <a:solidFill>
            <a:schemeClr val="tx2"/>
          </a:solidFill>
          <a:ln w="76200" cap="flat" cmpd="sng" algn="ctr">
            <a:solidFill>
              <a:srgbClr val="0000C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7" name="Rectangle 126">
            <a:extLst>
              <a:ext uri="{FF2B5EF4-FFF2-40B4-BE49-F238E27FC236}">
                <a16:creationId xmlns:a16="http://schemas.microsoft.com/office/drawing/2014/main" id="{97CF54C3-0D13-4284-882E-C347CD90CFE7}"/>
              </a:ext>
            </a:extLst>
          </p:cNvPr>
          <p:cNvSpPr/>
          <p:nvPr/>
        </p:nvSpPr>
        <p:spPr bwMode="auto">
          <a:xfrm rot="16200000">
            <a:off x="10669076" y="1395175"/>
            <a:ext cx="2113246" cy="543105"/>
          </a:xfrm>
          <a:prstGeom prst="rect">
            <a:avLst/>
          </a:prstGeom>
          <a:noFill/>
          <a:ln w="762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grpSp>
        <p:nvGrpSpPr>
          <p:cNvPr id="1024" name="Group 1023">
            <a:extLst>
              <a:ext uri="{FF2B5EF4-FFF2-40B4-BE49-F238E27FC236}">
                <a16:creationId xmlns:a16="http://schemas.microsoft.com/office/drawing/2014/main" id="{CEBA408E-5B89-4889-A940-8AEA10B9AD8F}"/>
              </a:ext>
            </a:extLst>
          </p:cNvPr>
          <p:cNvGrpSpPr/>
          <p:nvPr/>
        </p:nvGrpSpPr>
        <p:grpSpPr>
          <a:xfrm rot="10800000">
            <a:off x="10976736" y="2150629"/>
            <a:ext cx="242736" cy="287214"/>
            <a:chOff x="8014831" y="4649229"/>
            <a:chExt cx="242736" cy="287214"/>
          </a:xfrm>
        </p:grpSpPr>
        <p:sp>
          <p:nvSpPr>
            <p:cNvPr id="123" name="Rectangle 122">
              <a:extLst>
                <a:ext uri="{FF2B5EF4-FFF2-40B4-BE49-F238E27FC236}">
                  <a16:creationId xmlns:a16="http://schemas.microsoft.com/office/drawing/2014/main" id="{D5576CBF-5970-4A1C-92A5-81B32EB5407E}"/>
                </a:ext>
              </a:extLst>
            </p:cNvPr>
            <p:cNvSpPr/>
            <p:nvPr/>
          </p:nvSpPr>
          <p:spPr bwMode="auto">
            <a:xfrm>
              <a:off x="8014831" y="4649229"/>
              <a:ext cx="242736" cy="287214"/>
            </a:xfrm>
            <a:prstGeom prst="rect">
              <a:avLst/>
            </a:prstGeom>
            <a:solidFill>
              <a:schemeClr val="bg1"/>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130" name="Isosceles Triangle 129">
              <a:extLst>
                <a:ext uri="{FF2B5EF4-FFF2-40B4-BE49-F238E27FC236}">
                  <a16:creationId xmlns:a16="http://schemas.microsoft.com/office/drawing/2014/main" id="{A74EA87B-817C-4558-B007-45C35159C45D}"/>
                </a:ext>
              </a:extLst>
            </p:cNvPr>
            <p:cNvSpPr/>
            <p:nvPr/>
          </p:nvSpPr>
          <p:spPr bwMode="auto">
            <a:xfrm rot="16200000">
              <a:off x="8032200" y="4698076"/>
              <a:ext cx="204692" cy="189521"/>
            </a:xfrm>
            <a:prstGeom prst="triangle">
              <a:avLst/>
            </a:prstGeom>
            <a:solidFill>
              <a:srgbClr val="0000CA"/>
            </a:solidFill>
            <a:ln w="25400">
              <a:no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grpSp>
      <p:cxnSp>
        <p:nvCxnSpPr>
          <p:cNvPr id="132" name="Straight Connector 131">
            <a:extLst>
              <a:ext uri="{FF2B5EF4-FFF2-40B4-BE49-F238E27FC236}">
                <a16:creationId xmlns:a16="http://schemas.microsoft.com/office/drawing/2014/main" id="{2998C113-5DC4-4F08-81FC-480AF9B2913A}"/>
              </a:ext>
            </a:extLst>
          </p:cNvPr>
          <p:cNvCxnSpPr/>
          <p:nvPr/>
        </p:nvCxnSpPr>
        <p:spPr bwMode="auto">
          <a:xfrm>
            <a:off x="7512570" y="961213"/>
            <a:ext cx="3930717" cy="0"/>
          </a:xfrm>
          <a:prstGeom prst="line">
            <a:avLst/>
          </a:prstGeom>
          <a:solidFill>
            <a:schemeClr val="tx2"/>
          </a:solidFill>
          <a:ln w="76200" cap="flat" cmpd="sng" algn="ctr">
            <a:solidFill>
              <a:srgbClr val="0000C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33" name="Group 132">
            <a:extLst>
              <a:ext uri="{FF2B5EF4-FFF2-40B4-BE49-F238E27FC236}">
                <a16:creationId xmlns:a16="http://schemas.microsoft.com/office/drawing/2014/main" id="{8A63F059-9CCD-4DD0-B905-BDAC584C6458}"/>
              </a:ext>
            </a:extLst>
          </p:cNvPr>
          <p:cNvGrpSpPr/>
          <p:nvPr/>
        </p:nvGrpSpPr>
        <p:grpSpPr>
          <a:xfrm>
            <a:off x="10976736" y="817606"/>
            <a:ext cx="242736" cy="287214"/>
            <a:chOff x="8014831" y="4649229"/>
            <a:chExt cx="242736" cy="287214"/>
          </a:xfrm>
        </p:grpSpPr>
        <p:sp>
          <p:nvSpPr>
            <p:cNvPr id="134" name="Rectangle 133">
              <a:extLst>
                <a:ext uri="{FF2B5EF4-FFF2-40B4-BE49-F238E27FC236}">
                  <a16:creationId xmlns:a16="http://schemas.microsoft.com/office/drawing/2014/main" id="{3F2C583D-B396-40EE-BEF1-CDF2228BBED1}"/>
                </a:ext>
              </a:extLst>
            </p:cNvPr>
            <p:cNvSpPr/>
            <p:nvPr/>
          </p:nvSpPr>
          <p:spPr bwMode="auto">
            <a:xfrm>
              <a:off x="8014831" y="4649229"/>
              <a:ext cx="242736" cy="287214"/>
            </a:xfrm>
            <a:prstGeom prst="rect">
              <a:avLst/>
            </a:prstGeom>
            <a:solidFill>
              <a:schemeClr val="bg1"/>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135" name="Isosceles Triangle 134">
              <a:extLst>
                <a:ext uri="{FF2B5EF4-FFF2-40B4-BE49-F238E27FC236}">
                  <a16:creationId xmlns:a16="http://schemas.microsoft.com/office/drawing/2014/main" id="{0FEAFA66-443A-4BD4-837E-E8DE4CA3BE7B}"/>
                </a:ext>
              </a:extLst>
            </p:cNvPr>
            <p:cNvSpPr/>
            <p:nvPr/>
          </p:nvSpPr>
          <p:spPr bwMode="auto">
            <a:xfrm rot="16200000">
              <a:off x="8032200" y="4698076"/>
              <a:ext cx="204692" cy="189521"/>
            </a:xfrm>
            <a:prstGeom prst="triangle">
              <a:avLst/>
            </a:prstGeom>
            <a:solidFill>
              <a:srgbClr val="0000CA"/>
            </a:solidFill>
            <a:ln w="25400">
              <a:no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grpSp>
      <p:grpSp>
        <p:nvGrpSpPr>
          <p:cNvPr id="1029" name="Group 1028">
            <a:extLst>
              <a:ext uri="{FF2B5EF4-FFF2-40B4-BE49-F238E27FC236}">
                <a16:creationId xmlns:a16="http://schemas.microsoft.com/office/drawing/2014/main" id="{4ABD8EE3-1BA3-4B31-8704-5EA383EE3856}"/>
              </a:ext>
            </a:extLst>
          </p:cNvPr>
          <p:cNvGrpSpPr/>
          <p:nvPr/>
        </p:nvGrpSpPr>
        <p:grpSpPr>
          <a:xfrm>
            <a:off x="8923215" y="2164503"/>
            <a:ext cx="301106" cy="522950"/>
            <a:chOff x="8723158" y="4646093"/>
            <a:chExt cx="301106" cy="522950"/>
          </a:xfrm>
        </p:grpSpPr>
        <p:grpSp>
          <p:nvGrpSpPr>
            <p:cNvPr id="101" name="Group 100">
              <a:extLst>
                <a:ext uri="{FF2B5EF4-FFF2-40B4-BE49-F238E27FC236}">
                  <a16:creationId xmlns:a16="http://schemas.microsoft.com/office/drawing/2014/main" id="{F21C1A85-2E71-445F-B114-31AF8BD2C8B5}"/>
                </a:ext>
              </a:extLst>
            </p:cNvPr>
            <p:cNvGrpSpPr/>
            <p:nvPr/>
          </p:nvGrpSpPr>
          <p:grpSpPr>
            <a:xfrm rot="16200000">
              <a:off x="8612236" y="4757015"/>
              <a:ext cx="522950" cy="301106"/>
              <a:chOff x="10997936" y="4512462"/>
              <a:chExt cx="215204" cy="382394"/>
            </a:xfrm>
            <a:solidFill>
              <a:schemeClr val="bg1"/>
            </a:solidFill>
          </p:grpSpPr>
          <p:sp>
            <p:nvSpPr>
              <p:cNvPr id="102" name="Rectangle 101">
                <a:extLst>
                  <a:ext uri="{FF2B5EF4-FFF2-40B4-BE49-F238E27FC236}">
                    <a16:creationId xmlns:a16="http://schemas.microsoft.com/office/drawing/2014/main" id="{7769C5C0-F3E7-4202-A8AB-0049551A4052}"/>
                  </a:ext>
                </a:extLst>
              </p:cNvPr>
              <p:cNvSpPr/>
              <p:nvPr/>
            </p:nvSpPr>
            <p:spPr bwMode="auto">
              <a:xfrm>
                <a:off x="10997936" y="4512464"/>
                <a:ext cx="215204" cy="382392"/>
              </a:xfrm>
              <a:prstGeom prst="rect">
                <a:avLst/>
              </a:prstGeom>
              <a:solidFill>
                <a:schemeClr val="accent5">
                  <a:lumMod val="40000"/>
                  <a:lumOff val="60000"/>
                </a:schemeClr>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cxnSp>
            <p:nvCxnSpPr>
              <p:cNvPr id="103" name="Straight Connector 102">
                <a:extLst>
                  <a:ext uri="{FF2B5EF4-FFF2-40B4-BE49-F238E27FC236}">
                    <a16:creationId xmlns:a16="http://schemas.microsoft.com/office/drawing/2014/main" id="{D49CC82B-51AF-4253-AA2F-79C4B18B752E}"/>
                  </a:ext>
                </a:extLst>
              </p:cNvPr>
              <p:cNvCxnSpPr>
                <a:cxnSpLocks/>
              </p:cNvCxnSpPr>
              <p:nvPr/>
            </p:nvCxnSpPr>
            <p:spPr bwMode="auto">
              <a:xfrm rot="5400000" flipV="1">
                <a:off x="10916690" y="4597287"/>
                <a:ext cx="374874" cy="20522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04" name="Straight Connector 103">
                <a:extLst>
                  <a:ext uri="{FF2B5EF4-FFF2-40B4-BE49-F238E27FC236}">
                    <a16:creationId xmlns:a16="http://schemas.microsoft.com/office/drawing/2014/main" id="{25B99AD1-AD33-4622-80E2-6B3358774FC7}"/>
                  </a:ext>
                </a:extLst>
              </p:cNvPr>
              <p:cNvCxnSpPr>
                <a:cxnSpLocks/>
              </p:cNvCxnSpPr>
              <p:nvPr/>
            </p:nvCxnSpPr>
            <p:spPr bwMode="auto">
              <a:xfrm flipH="1">
                <a:off x="10997936" y="4512463"/>
                <a:ext cx="215204" cy="37440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cxnSp>
          <p:nvCxnSpPr>
            <p:cNvPr id="107" name="Straight Connector 106">
              <a:extLst>
                <a:ext uri="{FF2B5EF4-FFF2-40B4-BE49-F238E27FC236}">
                  <a16:creationId xmlns:a16="http://schemas.microsoft.com/office/drawing/2014/main" id="{FA5A95D5-14C8-456A-B5BE-59DAF268A9BA}"/>
                </a:ext>
              </a:extLst>
            </p:cNvPr>
            <p:cNvCxnSpPr/>
            <p:nvPr/>
          </p:nvCxnSpPr>
          <p:spPr bwMode="auto">
            <a:xfrm flipH="1">
              <a:off x="8817859" y="4710977"/>
              <a:ext cx="110490" cy="0"/>
            </a:xfrm>
            <a:prstGeom prst="line">
              <a:avLst/>
            </a:prstGeom>
            <a:solidFill>
              <a:schemeClr val="bg1"/>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030" name="Group 1029">
            <a:extLst>
              <a:ext uri="{FF2B5EF4-FFF2-40B4-BE49-F238E27FC236}">
                <a16:creationId xmlns:a16="http://schemas.microsoft.com/office/drawing/2014/main" id="{2CA9236E-499F-4B2E-8F84-1F793AA2F199}"/>
              </a:ext>
            </a:extLst>
          </p:cNvPr>
          <p:cNvGrpSpPr/>
          <p:nvPr/>
        </p:nvGrpSpPr>
        <p:grpSpPr>
          <a:xfrm>
            <a:off x="9420451" y="2156816"/>
            <a:ext cx="301106" cy="522950"/>
            <a:chOff x="9220394" y="4638406"/>
            <a:chExt cx="301106" cy="522950"/>
          </a:xfrm>
        </p:grpSpPr>
        <p:grpSp>
          <p:nvGrpSpPr>
            <p:cNvPr id="93" name="Group 92">
              <a:extLst>
                <a:ext uri="{FF2B5EF4-FFF2-40B4-BE49-F238E27FC236}">
                  <a16:creationId xmlns:a16="http://schemas.microsoft.com/office/drawing/2014/main" id="{47E20BDE-942F-4AD7-92A4-864E332E1AD7}"/>
                </a:ext>
              </a:extLst>
            </p:cNvPr>
            <p:cNvGrpSpPr/>
            <p:nvPr/>
          </p:nvGrpSpPr>
          <p:grpSpPr>
            <a:xfrm rot="16200000">
              <a:off x="9109472" y="4749328"/>
              <a:ext cx="522950" cy="301106"/>
              <a:chOff x="10997936" y="4512462"/>
              <a:chExt cx="215204" cy="382394"/>
            </a:xfrm>
            <a:solidFill>
              <a:schemeClr val="bg1"/>
            </a:solidFill>
          </p:grpSpPr>
          <p:sp>
            <p:nvSpPr>
              <p:cNvPr id="94" name="Rectangle 93">
                <a:extLst>
                  <a:ext uri="{FF2B5EF4-FFF2-40B4-BE49-F238E27FC236}">
                    <a16:creationId xmlns:a16="http://schemas.microsoft.com/office/drawing/2014/main" id="{F559B03D-39B3-461D-B712-A9AA2ECA4BCD}"/>
                  </a:ext>
                </a:extLst>
              </p:cNvPr>
              <p:cNvSpPr/>
              <p:nvPr/>
            </p:nvSpPr>
            <p:spPr bwMode="auto">
              <a:xfrm>
                <a:off x="10997936" y="4512464"/>
                <a:ext cx="215204" cy="382392"/>
              </a:xfrm>
              <a:prstGeom prst="rect">
                <a:avLst/>
              </a:prstGeom>
              <a:solidFill>
                <a:srgbClr val="FFFF00"/>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cxnSp>
            <p:nvCxnSpPr>
              <p:cNvPr id="95" name="Straight Connector 94">
                <a:extLst>
                  <a:ext uri="{FF2B5EF4-FFF2-40B4-BE49-F238E27FC236}">
                    <a16:creationId xmlns:a16="http://schemas.microsoft.com/office/drawing/2014/main" id="{49CD0C1F-BE98-458F-B74D-C31A667CC815}"/>
                  </a:ext>
                </a:extLst>
              </p:cNvPr>
              <p:cNvCxnSpPr>
                <a:cxnSpLocks/>
              </p:cNvCxnSpPr>
              <p:nvPr/>
            </p:nvCxnSpPr>
            <p:spPr bwMode="auto">
              <a:xfrm rot="5400000" flipV="1">
                <a:off x="10916690" y="4597287"/>
                <a:ext cx="374874" cy="20522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 name="Group 13">
              <a:extLst>
                <a:ext uri="{FF2B5EF4-FFF2-40B4-BE49-F238E27FC236}">
                  <a16:creationId xmlns:a16="http://schemas.microsoft.com/office/drawing/2014/main" id="{9FE19654-BA2B-4F99-9C1C-D7FD79876DBB}"/>
                </a:ext>
              </a:extLst>
            </p:cNvPr>
            <p:cNvGrpSpPr/>
            <p:nvPr/>
          </p:nvGrpSpPr>
          <p:grpSpPr>
            <a:xfrm>
              <a:off x="9303152" y="4665719"/>
              <a:ext cx="121539" cy="123044"/>
              <a:chOff x="5061585" y="2973937"/>
              <a:chExt cx="110490" cy="123044"/>
            </a:xfrm>
            <a:solidFill>
              <a:schemeClr val="bg1"/>
            </a:solidFill>
          </p:grpSpPr>
          <p:cxnSp>
            <p:nvCxnSpPr>
              <p:cNvPr id="105" name="Straight Connector 104">
                <a:extLst>
                  <a:ext uri="{FF2B5EF4-FFF2-40B4-BE49-F238E27FC236}">
                    <a16:creationId xmlns:a16="http://schemas.microsoft.com/office/drawing/2014/main" id="{08A4291E-B24E-4B41-BFFB-135E11C72648}"/>
                  </a:ext>
                </a:extLst>
              </p:cNvPr>
              <p:cNvCxnSpPr/>
              <p:nvPr/>
            </p:nvCxnSpPr>
            <p:spPr bwMode="auto">
              <a:xfrm>
                <a:off x="5116830" y="2973937"/>
                <a:ext cx="0" cy="12304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06" name="Straight Connector 105">
                <a:extLst>
                  <a:ext uri="{FF2B5EF4-FFF2-40B4-BE49-F238E27FC236}">
                    <a16:creationId xmlns:a16="http://schemas.microsoft.com/office/drawing/2014/main" id="{40CEDD4E-A936-446B-923E-9934A266E7E6}"/>
                  </a:ext>
                </a:extLst>
              </p:cNvPr>
              <p:cNvCxnSpPr/>
              <p:nvPr/>
            </p:nvCxnSpPr>
            <p:spPr bwMode="auto">
              <a:xfrm flipH="1">
                <a:off x="5061585" y="3038720"/>
                <a:ext cx="110490" cy="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nvGrpSpPr>
          <p:cNvPr id="139" name="Group 138">
            <a:extLst>
              <a:ext uri="{FF2B5EF4-FFF2-40B4-BE49-F238E27FC236}">
                <a16:creationId xmlns:a16="http://schemas.microsoft.com/office/drawing/2014/main" id="{3DB31EC1-297A-42A2-92CC-9B5EA3B7DE53}"/>
              </a:ext>
            </a:extLst>
          </p:cNvPr>
          <p:cNvGrpSpPr/>
          <p:nvPr/>
        </p:nvGrpSpPr>
        <p:grpSpPr>
          <a:xfrm rot="16200000">
            <a:off x="8186000" y="2151116"/>
            <a:ext cx="522950" cy="301104"/>
            <a:chOff x="10997936" y="4512464"/>
            <a:chExt cx="215204" cy="382392"/>
          </a:xfrm>
          <a:solidFill>
            <a:schemeClr val="bg1"/>
          </a:solidFill>
        </p:grpSpPr>
        <p:sp>
          <p:nvSpPr>
            <p:cNvPr id="140" name="Rectangle 139">
              <a:extLst>
                <a:ext uri="{FF2B5EF4-FFF2-40B4-BE49-F238E27FC236}">
                  <a16:creationId xmlns:a16="http://schemas.microsoft.com/office/drawing/2014/main" id="{AFC1B7E0-E286-42AA-A5FD-A0E9C6AFBB9A}"/>
                </a:ext>
              </a:extLst>
            </p:cNvPr>
            <p:cNvSpPr/>
            <p:nvPr/>
          </p:nvSpPr>
          <p:spPr bwMode="auto">
            <a:xfrm>
              <a:off x="10997936" y="4512464"/>
              <a:ext cx="215204" cy="382392"/>
            </a:xfrm>
            <a:prstGeom prst="rect">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cxnSp>
          <p:nvCxnSpPr>
            <p:cNvPr id="141" name="Straight Connector 140">
              <a:extLst>
                <a:ext uri="{FF2B5EF4-FFF2-40B4-BE49-F238E27FC236}">
                  <a16:creationId xmlns:a16="http://schemas.microsoft.com/office/drawing/2014/main" id="{1002319D-AB75-4C3F-ACC9-8534AFF40BCB}"/>
                </a:ext>
              </a:extLst>
            </p:cNvPr>
            <p:cNvCxnSpPr>
              <a:cxnSpLocks/>
              <a:stCxn id="140" idx="1"/>
              <a:endCxn id="140" idx="2"/>
            </p:cNvCxnSpPr>
            <p:nvPr/>
          </p:nvCxnSpPr>
          <p:spPr bwMode="auto">
            <a:xfrm rot="5400000" flipV="1">
              <a:off x="10956139" y="4745457"/>
              <a:ext cx="191196" cy="107602"/>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2" name="Straight Connector 141">
              <a:extLst>
                <a:ext uri="{FF2B5EF4-FFF2-40B4-BE49-F238E27FC236}">
                  <a16:creationId xmlns:a16="http://schemas.microsoft.com/office/drawing/2014/main" id="{DFC8259C-5A98-4430-A37A-E0DA1F1EA8B7}"/>
                </a:ext>
              </a:extLst>
            </p:cNvPr>
            <p:cNvCxnSpPr>
              <a:cxnSpLocks/>
              <a:stCxn id="140" idx="3"/>
              <a:endCxn id="140" idx="2"/>
            </p:cNvCxnSpPr>
            <p:nvPr/>
          </p:nvCxnSpPr>
          <p:spPr bwMode="auto">
            <a:xfrm rot="5400000">
              <a:off x="11063741" y="4745457"/>
              <a:ext cx="191196" cy="107602"/>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cxnSp>
        <p:nvCxnSpPr>
          <p:cNvPr id="1041" name="Straight Connector 1040">
            <a:extLst>
              <a:ext uri="{FF2B5EF4-FFF2-40B4-BE49-F238E27FC236}">
                <a16:creationId xmlns:a16="http://schemas.microsoft.com/office/drawing/2014/main" id="{AA79F5A4-5718-4431-91A5-C5C964C25856}"/>
              </a:ext>
            </a:extLst>
          </p:cNvPr>
          <p:cNvCxnSpPr/>
          <p:nvPr/>
        </p:nvCxnSpPr>
        <p:spPr bwMode="auto">
          <a:xfrm>
            <a:off x="8985026" y="2687453"/>
            <a:ext cx="8462" cy="524184"/>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5" name="Straight Connector 164">
            <a:extLst>
              <a:ext uri="{FF2B5EF4-FFF2-40B4-BE49-F238E27FC236}">
                <a16:creationId xmlns:a16="http://schemas.microsoft.com/office/drawing/2014/main" id="{1F45ED20-E096-493E-9D0F-779043EDFCA7}"/>
              </a:ext>
            </a:extLst>
          </p:cNvPr>
          <p:cNvCxnSpPr/>
          <p:nvPr/>
        </p:nvCxnSpPr>
        <p:spPr bwMode="auto">
          <a:xfrm>
            <a:off x="9163527" y="2687453"/>
            <a:ext cx="0" cy="518027"/>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56" name="Group 155">
            <a:extLst>
              <a:ext uri="{FF2B5EF4-FFF2-40B4-BE49-F238E27FC236}">
                <a16:creationId xmlns:a16="http://schemas.microsoft.com/office/drawing/2014/main" id="{0457F5DE-B953-44C6-9312-32EC0591EA30}"/>
              </a:ext>
            </a:extLst>
          </p:cNvPr>
          <p:cNvGrpSpPr/>
          <p:nvPr/>
        </p:nvGrpSpPr>
        <p:grpSpPr>
          <a:xfrm>
            <a:off x="8800312" y="2873856"/>
            <a:ext cx="297146" cy="180736"/>
            <a:chOff x="5911240" y="5012523"/>
            <a:chExt cx="620858" cy="377631"/>
          </a:xfrm>
        </p:grpSpPr>
        <p:cxnSp>
          <p:nvCxnSpPr>
            <p:cNvPr id="157" name="Straight Connector 156">
              <a:extLst>
                <a:ext uri="{FF2B5EF4-FFF2-40B4-BE49-F238E27FC236}">
                  <a16:creationId xmlns:a16="http://schemas.microsoft.com/office/drawing/2014/main" id="{CFD3BD33-112E-4897-8115-A4D5D69167B3}"/>
                </a:ext>
              </a:extLst>
            </p:cNvPr>
            <p:cNvCxnSpPr>
              <a:cxnSpLocks/>
              <a:endCxn id="161" idx="6"/>
            </p:cNvCxnSpPr>
            <p:nvPr/>
          </p:nvCxnSpPr>
          <p:spPr bwMode="auto">
            <a:xfrm flipH="1">
              <a:off x="6158697" y="5205215"/>
              <a:ext cx="152236" cy="4203"/>
            </a:xfrm>
            <a:prstGeom prst="line">
              <a:avLst/>
            </a:prstGeom>
            <a:solidFill>
              <a:schemeClr val="tx2"/>
            </a:solidFill>
            <a:ln w="1905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8" name="Isosceles Triangle 157">
              <a:extLst>
                <a:ext uri="{FF2B5EF4-FFF2-40B4-BE49-F238E27FC236}">
                  <a16:creationId xmlns:a16="http://schemas.microsoft.com/office/drawing/2014/main" id="{0BA6C29D-C3BB-4702-B811-9AAAE0E8F488}"/>
                </a:ext>
              </a:extLst>
            </p:cNvPr>
            <p:cNvSpPr/>
            <p:nvPr/>
          </p:nvSpPr>
          <p:spPr bwMode="auto">
            <a:xfrm rot="10800000">
              <a:off x="6181617" y="5012523"/>
              <a:ext cx="258631" cy="189521"/>
            </a:xfrm>
            <a:prstGeom prst="triangle">
              <a:avLst/>
            </a:prstGeom>
            <a:solidFill>
              <a:schemeClr val="bg2">
                <a:lumMod val="50000"/>
              </a:schemeClr>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159" name="Isosceles Triangle 158">
              <a:extLst>
                <a:ext uri="{FF2B5EF4-FFF2-40B4-BE49-F238E27FC236}">
                  <a16:creationId xmlns:a16="http://schemas.microsoft.com/office/drawing/2014/main" id="{0FC621C7-C831-4FA2-BE97-314D9B76FF6A}"/>
                </a:ext>
              </a:extLst>
            </p:cNvPr>
            <p:cNvSpPr/>
            <p:nvPr/>
          </p:nvSpPr>
          <p:spPr bwMode="auto">
            <a:xfrm>
              <a:off x="6181617" y="5200633"/>
              <a:ext cx="258631" cy="189521"/>
            </a:xfrm>
            <a:prstGeom prst="triangle">
              <a:avLst/>
            </a:prstGeom>
            <a:solidFill>
              <a:schemeClr val="bg1"/>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160" name="Isosceles Triangle 159">
              <a:extLst>
                <a:ext uri="{FF2B5EF4-FFF2-40B4-BE49-F238E27FC236}">
                  <a16:creationId xmlns:a16="http://schemas.microsoft.com/office/drawing/2014/main" id="{6AD9EDFC-C372-4F24-9623-72829DF73198}"/>
                </a:ext>
              </a:extLst>
            </p:cNvPr>
            <p:cNvSpPr/>
            <p:nvPr/>
          </p:nvSpPr>
          <p:spPr bwMode="auto">
            <a:xfrm rot="16200000">
              <a:off x="6308022" y="5109070"/>
              <a:ext cx="258631" cy="189521"/>
            </a:xfrm>
            <a:prstGeom prst="triangle">
              <a:avLst/>
            </a:prstGeom>
            <a:solidFill>
              <a:schemeClr val="bg2">
                <a:lumMod val="50000"/>
              </a:schemeClr>
            </a:solidFill>
            <a:ln w="19050">
              <a:solidFill>
                <a:schemeClr val="bg2">
                  <a:lumMod val="50000"/>
                </a:schemeClr>
              </a:solid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161" name="Oval 160">
              <a:extLst>
                <a:ext uri="{FF2B5EF4-FFF2-40B4-BE49-F238E27FC236}">
                  <a16:creationId xmlns:a16="http://schemas.microsoft.com/office/drawing/2014/main" id="{F9C6EA09-B722-4847-A40A-BA665AC19822}"/>
                </a:ext>
              </a:extLst>
            </p:cNvPr>
            <p:cNvSpPr/>
            <p:nvPr/>
          </p:nvSpPr>
          <p:spPr bwMode="auto">
            <a:xfrm>
              <a:off x="5911240" y="5085689"/>
              <a:ext cx="247457" cy="247457"/>
            </a:xfrm>
            <a:prstGeom prst="ellipse">
              <a:avLst/>
            </a:prstGeom>
            <a:no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r>
                <a:rPr lang="de-DE" sz="600">
                  <a:solidFill>
                    <a:schemeClr val="tx1"/>
                  </a:solidFill>
                  <a:latin typeface="+mn-lt"/>
                  <a:ea typeface="Arial Unicode MS" panose="020B0604020202020204" pitchFamily="34" charset="-128"/>
                  <a:cs typeface="Arial Unicode MS" panose="020B0604020202020204" pitchFamily="34" charset="-128"/>
                </a:rPr>
                <a:t>M</a:t>
              </a:r>
            </a:p>
          </p:txBody>
        </p:sp>
      </p:grpSp>
      <p:cxnSp>
        <p:nvCxnSpPr>
          <p:cNvPr id="168" name="Straight Connector 167">
            <a:extLst>
              <a:ext uri="{FF2B5EF4-FFF2-40B4-BE49-F238E27FC236}">
                <a16:creationId xmlns:a16="http://schemas.microsoft.com/office/drawing/2014/main" id="{93B3406C-91EB-45F5-B154-11DDA4E55F5E}"/>
              </a:ext>
            </a:extLst>
          </p:cNvPr>
          <p:cNvCxnSpPr/>
          <p:nvPr/>
        </p:nvCxnSpPr>
        <p:spPr bwMode="auto">
          <a:xfrm>
            <a:off x="9486994" y="2687453"/>
            <a:ext cx="0" cy="535850"/>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9" name="Straight Connector 168">
            <a:extLst>
              <a:ext uri="{FF2B5EF4-FFF2-40B4-BE49-F238E27FC236}">
                <a16:creationId xmlns:a16="http://schemas.microsoft.com/office/drawing/2014/main" id="{75EF1636-16D8-4767-ACFE-A1710990DF42}"/>
              </a:ext>
            </a:extLst>
          </p:cNvPr>
          <p:cNvCxnSpPr/>
          <p:nvPr/>
        </p:nvCxnSpPr>
        <p:spPr bwMode="auto">
          <a:xfrm>
            <a:off x="9665495" y="2687453"/>
            <a:ext cx="0" cy="535850"/>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70" name="Group 169">
            <a:extLst>
              <a:ext uri="{FF2B5EF4-FFF2-40B4-BE49-F238E27FC236}">
                <a16:creationId xmlns:a16="http://schemas.microsoft.com/office/drawing/2014/main" id="{677FCABC-3ACB-4897-A218-FF3E7B066DEF}"/>
              </a:ext>
            </a:extLst>
          </p:cNvPr>
          <p:cNvGrpSpPr/>
          <p:nvPr/>
        </p:nvGrpSpPr>
        <p:grpSpPr>
          <a:xfrm>
            <a:off x="9302280" y="2873856"/>
            <a:ext cx="297146" cy="180736"/>
            <a:chOff x="5911240" y="5012523"/>
            <a:chExt cx="620858" cy="377631"/>
          </a:xfrm>
        </p:grpSpPr>
        <p:cxnSp>
          <p:nvCxnSpPr>
            <p:cNvPr id="171" name="Straight Connector 170">
              <a:extLst>
                <a:ext uri="{FF2B5EF4-FFF2-40B4-BE49-F238E27FC236}">
                  <a16:creationId xmlns:a16="http://schemas.microsoft.com/office/drawing/2014/main" id="{1EF0704A-ED51-4854-ACA0-87D661D5AB08}"/>
                </a:ext>
              </a:extLst>
            </p:cNvPr>
            <p:cNvCxnSpPr>
              <a:cxnSpLocks/>
              <a:endCxn id="175" idx="6"/>
            </p:cNvCxnSpPr>
            <p:nvPr/>
          </p:nvCxnSpPr>
          <p:spPr bwMode="auto">
            <a:xfrm flipH="1">
              <a:off x="6158697" y="5205215"/>
              <a:ext cx="152236" cy="4203"/>
            </a:xfrm>
            <a:prstGeom prst="line">
              <a:avLst/>
            </a:prstGeom>
            <a:solidFill>
              <a:schemeClr val="tx2"/>
            </a:solidFill>
            <a:ln w="1905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2" name="Isosceles Triangle 171">
              <a:extLst>
                <a:ext uri="{FF2B5EF4-FFF2-40B4-BE49-F238E27FC236}">
                  <a16:creationId xmlns:a16="http://schemas.microsoft.com/office/drawing/2014/main" id="{A6AD4720-B370-4785-B4B9-01D2CC00C0EE}"/>
                </a:ext>
              </a:extLst>
            </p:cNvPr>
            <p:cNvSpPr/>
            <p:nvPr/>
          </p:nvSpPr>
          <p:spPr bwMode="auto">
            <a:xfrm rot="10800000">
              <a:off x="6181617" y="5012523"/>
              <a:ext cx="258631" cy="189521"/>
            </a:xfrm>
            <a:prstGeom prst="triangle">
              <a:avLst/>
            </a:prstGeom>
            <a:solidFill>
              <a:schemeClr val="bg2">
                <a:lumMod val="50000"/>
              </a:schemeClr>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173" name="Isosceles Triangle 172">
              <a:extLst>
                <a:ext uri="{FF2B5EF4-FFF2-40B4-BE49-F238E27FC236}">
                  <a16:creationId xmlns:a16="http://schemas.microsoft.com/office/drawing/2014/main" id="{470AF321-742F-4EB8-A82E-16F20D616FFE}"/>
                </a:ext>
              </a:extLst>
            </p:cNvPr>
            <p:cNvSpPr/>
            <p:nvPr/>
          </p:nvSpPr>
          <p:spPr bwMode="auto">
            <a:xfrm>
              <a:off x="6181617" y="5200633"/>
              <a:ext cx="258631" cy="189521"/>
            </a:xfrm>
            <a:prstGeom prst="triangle">
              <a:avLst/>
            </a:prstGeom>
            <a:solidFill>
              <a:schemeClr val="bg1"/>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174" name="Isosceles Triangle 173">
              <a:extLst>
                <a:ext uri="{FF2B5EF4-FFF2-40B4-BE49-F238E27FC236}">
                  <a16:creationId xmlns:a16="http://schemas.microsoft.com/office/drawing/2014/main" id="{E014E9BD-C906-4704-8239-A9CE698C4B80}"/>
                </a:ext>
              </a:extLst>
            </p:cNvPr>
            <p:cNvSpPr/>
            <p:nvPr/>
          </p:nvSpPr>
          <p:spPr bwMode="auto">
            <a:xfrm rot="16200000">
              <a:off x="6308022" y="5109070"/>
              <a:ext cx="258631" cy="189521"/>
            </a:xfrm>
            <a:prstGeom prst="triangle">
              <a:avLst/>
            </a:prstGeom>
            <a:solidFill>
              <a:schemeClr val="bg2">
                <a:lumMod val="50000"/>
              </a:schemeClr>
            </a:solidFill>
            <a:ln w="19050">
              <a:solidFill>
                <a:schemeClr val="bg2">
                  <a:lumMod val="50000"/>
                </a:schemeClr>
              </a:solid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175" name="Oval 174">
              <a:extLst>
                <a:ext uri="{FF2B5EF4-FFF2-40B4-BE49-F238E27FC236}">
                  <a16:creationId xmlns:a16="http://schemas.microsoft.com/office/drawing/2014/main" id="{B8DF97D4-F548-4DFD-BEC7-48710A2A7C75}"/>
                </a:ext>
              </a:extLst>
            </p:cNvPr>
            <p:cNvSpPr/>
            <p:nvPr/>
          </p:nvSpPr>
          <p:spPr bwMode="auto">
            <a:xfrm>
              <a:off x="5911240" y="5085689"/>
              <a:ext cx="247457" cy="247457"/>
            </a:xfrm>
            <a:prstGeom prst="ellipse">
              <a:avLst/>
            </a:prstGeom>
            <a:no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r>
                <a:rPr lang="de-DE" sz="600">
                  <a:solidFill>
                    <a:schemeClr val="tx1"/>
                  </a:solidFill>
                  <a:latin typeface="+mn-lt"/>
                  <a:ea typeface="Arial Unicode MS" panose="020B0604020202020204" pitchFamily="34" charset="-128"/>
                  <a:cs typeface="Arial Unicode MS" panose="020B0604020202020204" pitchFamily="34" charset="-128"/>
                </a:rPr>
                <a:t>M</a:t>
              </a:r>
            </a:p>
          </p:txBody>
        </p:sp>
      </p:grpSp>
      <p:cxnSp>
        <p:nvCxnSpPr>
          <p:cNvPr id="176" name="Straight Connector 175">
            <a:extLst>
              <a:ext uri="{FF2B5EF4-FFF2-40B4-BE49-F238E27FC236}">
                <a16:creationId xmlns:a16="http://schemas.microsoft.com/office/drawing/2014/main" id="{7900CF1E-DE9C-45F4-9C20-93C7623C8BA9}"/>
              </a:ext>
            </a:extLst>
          </p:cNvPr>
          <p:cNvCxnSpPr>
            <a:cxnSpLocks/>
            <a:endCxn id="3" idx="0"/>
          </p:cNvCxnSpPr>
          <p:nvPr/>
        </p:nvCxnSpPr>
        <p:spPr bwMode="auto">
          <a:xfrm>
            <a:off x="10856167" y="2337018"/>
            <a:ext cx="113" cy="160484"/>
          </a:xfrm>
          <a:prstGeom prst="line">
            <a:avLst/>
          </a:prstGeom>
          <a:solidFill>
            <a:schemeClr val="bg1"/>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79" name="Oval 178">
            <a:extLst>
              <a:ext uri="{FF2B5EF4-FFF2-40B4-BE49-F238E27FC236}">
                <a16:creationId xmlns:a16="http://schemas.microsoft.com/office/drawing/2014/main" id="{9257C674-00E1-4E7D-8410-A171723F0F9D}"/>
              </a:ext>
            </a:extLst>
          </p:cNvPr>
          <p:cNvSpPr/>
          <p:nvPr/>
        </p:nvSpPr>
        <p:spPr bwMode="auto">
          <a:xfrm>
            <a:off x="11520754" y="1389800"/>
            <a:ext cx="409889" cy="409889"/>
          </a:xfrm>
          <a:prstGeom prst="ellipse">
            <a:avLst/>
          </a:prstGeom>
          <a:solidFill>
            <a:schemeClr val="bg1"/>
          </a:solidFill>
          <a:ln w="38100">
            <a:solidFill>
              <a:srgbClr val="4A6274"/>
            </a:solidFill>
          </a:ln>
          <a:effectLst/>
        </p:spPr>
        <p:txBody>
          <a:bodyPr wrap="square" lIns="0" tIns="0" rIns="0" bIns="0" numCol="1" spcCol="72000" rtlCol="0" anchor="ctr">
            <a:noAutofit/>
          </a:bodyPr>
          <a:lstStyle/>
          <a:p>
            <a:pPr>
              <a:lnSpc>
                <a:spcPct val="110000"/>
              </a:lnSpc>
              <a:spcBef>
                <a:spcPct val="0"/>
              </a:spcBef>
            </a:pPr>
            <a:r>
              <a:rPr lang="en-US" b="1">
                <a:solidFill>
                  <a:schemeClr val="tx1"/>
                </a:solidFill>
              </a:rPr>
              <a:t>T</a:t>
            </a:r>
          </a:p>
        </p:txBody>
      </p:sp>
      <p:grpSp>
        <p:nvGrpSpPr>
          <p:cNvPr id="120" name="Group 119">
            <a:extLst>
              <a:ext uri="{FF2B5EF4-FFF2-40B4-BE49-F238E27FC236}">
                <a16:creationId xmlns:a16="http://schemas.microsoft.com/office/drawing/2014/main" id="{7BC5C803-395B-4E9A-A354-6A186F8A4621}"/>
              </a:ext>
            </a:extLst>
          </p:cNvPr>
          <p:cNvGrpSpPr/>
          <p:nvPr/>
        </p:nvGrpSpPr>
        <p:grpSpPr>
          <a:xfrm>
            <a:off x="9969973" y="2124669"/>
            <a:ext cx="333525" cy="331239"/>
            <a:chOff x="7170823" y="2963575"/>
            <a:chExt cx="479658" cy="476370"/>
          </a:xfrm>
          <a:solidFill>
            <a:schemeClr val="bg1"/>
          </a:solidFill>
        </p:grpSpPr>
        <p:sp>
          <p:nvSpPr>
            <p:cNvPr id="111" name="Oval 110">
              <a:extLst>
                <a:ext uri="{FF2B5EF4-FFF2-40B4-BE49-F238E27FC236}">
                  <a16:creationId xmlns:a16="http://schemas.microsoft.com/office/drawing/2014/main" id="{0E4EE65A-2F9D-447F-A308-C671BDABB7CE}"/>
                </a:ext>
              </a:extLst>
            </p:cNvPr>
            <p:cNvSpPr/>
            <p:nvPr/>
          </p:nvSpPr>
          <p:spPr bwMode="auto">
            <a:xfrm>
              <a:off x="7170823" y="2963575"/>
              <a:ext cx="476370" cy="476370"/>
            </a:xfrm>
            <a:prstGeom prst="ellips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nSpc>
                  <a:spcPct val="110000"/>
                </a:lnSpc>
                <a:spcBef>
                  <a:spcPct val="0"/>
                </a:spcBef>
              </a:pPr>
              <a:endParaRPr lang="en-US" b="1">
                <a:solidFill>
                  <a:schemeClr val="bg1"/>
                </a:solidFill>
              </a:endParaRPr>
            </a:p>
          </p:txBody>
        </p:sp>
        <p:cxnSp>
          <p:nvCxnSpPr>
            <p:cNvPr id="112" name="Straight Connector 111">
              <a:extLst>
                <a:ext uri="{FF2B5EF4-FFF2-40B4-BE49-F238E27FC236}">
                  <a16:creationId xmlns:a16="http://schemas.microsoft.com/office/drawing/2014/main" id="{3B5DB2A6-A4F6-41B5-93D5-D339C358EEFC}"/>
                </a:ext>
              </a:extLst>
            </p:cNvPr>
            <p:cNvCxnSpPr>
              <a:endCxn id="111" idx="1"/>
            </p:cNvCxnSpPr>
            <p:nvPr/>
          </p:nvCxnSpPr>
          <p:spPr bwMode="auto">
            <a:xfrm flipH="1" flipV="1">
              <a:off x="7240590" y="3033336"/>
              <a:ext cx="409891" cy="12134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15" name="Straight Connector 114">
              <a:extLst>
                <a:ext uri="{FF2B5EF4-FFF2-40B4-BE49-F238E27FC236}">
                  <a16:creationId xmlns:a16="http://schemas.microsoft.com/office/drawing/2014/main" id="{324D32CF-9913-4CC5-A672-D92FEDAA6B7B}"/>
                </a:ext>
              </a:extLst>
            </p:cNvPr>
            <p:cNvCxnSpPr>
              <a:endCxn id="111" idx="3"/>
            </p:cNvCxnSpPr>
            <p:nvPr/>
          </p:nvCxnSpPr>
          <p:spPr bwMode="auto">
            <a:xfrm flipH="1">
              <a:off x="7240590" y="3257550"/>
              <a:ext cx="409890" cy="11263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81" name="Group 180">
            <a:extLst>
              <a:ext uri="{FF2B5EF4-FFF2-40B4-BE49-F238E27FC236}">
                <a16:creationId xmlns:a16="http://schemas.microsoft.com/office/drawing/2014/main" id="{8321C90D-539C-4CB3-9CD5-FB1F7F0FE1AE}"/>
              </a:ext>
            </a:extLst>
          </p:cNvPr>
          <p:cNvGrpSpPr/>
          <p:nvPr/>
        </p:nvGrpSpPr>
        <p:grpSpPr>
          <a:xfrm rot="10800000">
            <a:off x="10099512" y="801351"/>
            <a:ext cx="333522" cy="331239"/>
            <a:chOff x="7170827" y="2963573"/>
            <a:chExt cx="479654" cy="476370"/>
          </a:xfrm>
          <a:solidFill>
            <a:schemeClr val="bg1"/>
          </a:solidFill>
        </p:grpSpPr>
        <p:sp>
          <p:nvSpPr>
            <p:cNvPr id="182" name="Oval 181">
              <a:extLst>
                <a:ext uri="{FF2B5EF4-FFF2-40B4-BE49-F238E27FC236}">
                  <a16:creationId xmlns:a16="http://schemas.microsoft.com/office/drawing/2014/main" id="{72828975-5CD9-469B-ADB2-56C8F55D4D45}"/>
                </a:ext>
              </a:extLst>
            </p:cNvPr>
            <p:cNvSpPr/>
            <p:nvPr/>
          </p:nvSpPr>
          <p:spPr bwMode="auto">
            <a:xfrm>
              <a:off x="7170827" y="2963573"/>
              <a:ext cx="476370" cy="476370"/>
            </a:xfrm>
            <a:prstGeom prst="ellips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nSpc>
                  <a:spcPct val="110000"/>
                </a:lnSpc>
                <a:spcBef>
                  <a:spcPct val="0"/>
                </a:spcBef>
              </a:pPr>
              <a:endParaRPr lang="en-US" b="1">
                <a:solidFill>
                  <a:schemeClr val="bg1"/>
                </a:solidFill>
              </a:endParaRPr>
            </a:p>
          </p:txBody>
        </p:sp>
        <p:cxnSp>
          <p:nvCxnSpPr>
            <p:cNvPr id="183" name="Straight Connector 182">
              <a:extLst>
                <a:ext uri="{FF2B5EF4-FFF2-40B4-BE49-F238E27FC236}">
                  <a16:creationId xmlns:a16="http://schemas.microsoft.com/office/drawing/2014/main" id="{5C29F3D5-FD5A-4A01-ADA7-2F4057003876}"/>
                </a:ext>
              </a:extLst>
            </p:cNvPr>
            <p:cNvCxnSpPr>
              <a:endCxn id="182" idx="1"/>
            </p:cNvCxnSpPr>
            <p:nvPr/>
          </p:nvCxnSpPr>
          <p:spPr bwMode="auto">
            <a:xfrm flipH="1" flipV="1">
              <a:off x="7240590" y="3033336"/>
              <a:ext cx="409891" cy="12134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4" name="Straight Connector 183">
              <a:extLst>
                <a:ext uri="{FF2B5EF4-FFF2-40B4-BE49-F238E27FC236}">
                  <a16:creationId xmlns:a16="http://schemas.microsoft.com/office/drawing/2014/main" id="{2824ED25-AF9B-470D-AF3D-0BF359CC7156}"/>
                </a:ext>
              </a:extLst>
            </p:cNvPr>
            <p:cNvCxnSpPr>
              <a:endCxn id="182" idx="3"/>
            </p:cNvCxnSpPr>
            <p:nvPr/>
          </p:nvCxnSpPr>
          <p:spPr bwMode="auto">
            <a:xfrm flipH="1">
              <a:off x="7240590" y="3257550"/>
              <a:ext cx="409890" cy="11263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88" name="Rechteck 25">
            <a:extLst>
              <a:ext uri="{FF2B5EF4-FFF2-40B4-BE49-F238E27FC236}">
                <a16:creationId xmlns:a16="http://schemas.microsoft.com/office/drawing/2014/main" id="{19D17691-B562-4382-BF6D-D08CE2FD02D3}"/>
              </a:ext>
            </a:extLst>
          </p:cNvPr>
          <p:cNvSpPr/>
          <p:nvPr/>
        </p:nvSpPr>
        <p:spPr bwMode="auto">
          <a:xfrm>
            <a:off x="2160000" y="1728000"/>
            <a:ext cx="156913" cy="5130001"/>
          </a:xfrm>
          <a:prstGeom prst="rect">
            <a:avLst/>
          </a:prstGeom>
          <a:solidFill>
            <a:schemeClr val="bg1"/>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latin typeface="Siemens Sans" pitchFamily="2" charset="0"/>
            </a:endParaRPr>
          </a:p>
        </p:txBody>
      </p:sp>
      <p:sp>
        <p:nvSpPr>
          <p:cNvPr id="1055" name="TextBox 1054">
            <a:extLst>
              <a:ext uri="{FF2B5EF4-FFF2-40B4-BE49-F238E27FC236}">
                <a16:creationId xmlns:a16="http://schemas.microsoft.com/office/drawing/2014/main" id="{D1F0EFEE-BAFA-4471-ACCB-A6F7E1FCE945}"/>
              </a:ext>
            </a:extLst>
          </p:cNvPr>
          <p:cNvSpPr txBox="1"/>
          <p:nvPr/>
        </p:nvSpPr>
        <p:spPr>
          <a:xfrm>
            <a:off x="9905102" y="1716511"/>
            <a:ext cx="1492465" cy="187424"/>
          </a:xfrm>
          <a:prstGeom prst="rect">
            <a:avLst/>
          </a:prstGeom>
          <a:noFill/>
        </p:spPr>
        <p:txBody>
          <a:bodyPr wrap="square" lIns="0" tIns="0" rIns="0" bIns="0" rtlCol="0">
            <a:spAutoFit/>
          </a:bodyPr>
          <a:lstStyle/>
          <a:p>
            <a:pPr>
              <a:lnSpc>
                <a:spcPct val="110000"/>
              </a:lnSpc>
              <a:spcBef>
                <a:spcPts val="0"/>
              </a:spcBef>
            </a:pPr>
            <a:r>
              <a:rPr lang="en-US" sz="1200">
                <a:solidFill>
                  <a:schemeClr val="tx1"/>
                </a:solidFill>
              </a:rPr>
              <a:t>Temperature Control</a:t>
            </a:r>
          </a:p>
        </p:txBody>
      </p:sp>
      <p:sp>
        <p:nvSpPr>
          <p:cNvPr id="272" name="TextBox 271">
            <a:extLst>
              <a:ext uri="{FF2B5EF4-FFF2-40B4-BE49-F238E27FC236}">
                <a16:creationId xmlns:a16="http://schemas.microsoft.com/office/drawing/2014/main" id="{6CF84B83-B4EF-4DD0-ADC9-8BEE9CF575A3}"/>
              </a:ext>
            </a:extLst>
          </p:cNvPr>
          <p:cNvSpPr txBox="1"/>
          <p:nvPr/>
        </p:nvSpPr>
        <p:spPr>
          <a:xfrm>
            <a:off x="9681868" y="1231377"/>
            <a:ext cx="1163251" cy="187424"/>
          </a:xfrm>
          <a:prstGeom prst="rect">
            <a:avLst/>
          </a:prstGeom>
          <a:noFill/>
        </p:spPr>
        <p:txBody>
          <a:bodyPr wrap="square" lIns="0" tIns="0" rIns="0" bIns="0" rtlCol="0">
            <a:spAutoFit/>
          </a:bodyPr>
          <a:lstStyle/>
          <a:p>
            <a:pPr>
              <a:lnSpc>
                <a:spcPct val="110000"/>
              </a:lnSpc>
              <a:spcBef>
                <a:spcPts val="0"/>
              </a:spcBef>
            </a:pPr>
            <a:r>
              <a:rPr lang="en-US" sz="1200">
                <a:solidFill>
                  <a:schemeClr val="tx1"/>
                </a:solidFill>
              </a:rPr>
              <a:t>Fan Control</a:t>
            </a:r>
          </a:p>
        </p:txBody>
      </p:sp>
      <p:sp>
        <p:nvSpPr>
          <p:cNvPr id="273" name="TextBox 272">
            <a:extLst>
              <a:ext uri="{FF2B5EF4-FFF2-40B4-BE49-F238E27FC236}">
                <a16:creationId xmlns:a16="http://schemas.microsoft.com/office/drawing/2014/main" id="{DBCE9F3F-0485-4094-AD9D-31B03C4A0045}"/>
              </a:ext>
            </a:extLst>
          </p:cNvPr>
          <p:cNvSpPr txBox="1"/>
          <p:nvPr/>
        </p:nvSpPr>
        <p:spPr>
          <a:xfrm>
            <a:off x="8404944" y="1501032"/>
            <a:ext cx="996546" cy="187424"/>
          </a:xfrm>
          <a:prstGeom prst="rect">
            <a:avLst/>
          </a:prstGeom>
          <a:noFill/>
        </p:spPr>
        <p:txBody>
          <a:bodyPr wrap="square" lIns="0" tIns="0" rIns="0" bIns="0" rtlCol="0">
            <a:spAutoFit/>
          </a:bodyPr>
          <a:lstStyle/>
          <a:p>
            <a:pPr>
              <a:lnSpc>
                <a:spcPct val="110000"/>
              </a:lnSpc>
              <a:spcBef>
                <a:spcPts val="0"/>
              </a:spcBef>
            </a:pPr>
            <a:r>
              <a:rPr lang="en-US" sz="1200">
                <a:solidFill>
                  <a:schemeClr val="tx1"/>
                </a:solidFill>
              </a:rPr>
              <a:t>Plant Control</a:t>
            </a:r>
          </a:p>
        </p:txBody>
      </p:sp>
      <p:sp>
        <p:nvSpPr>
          <p:cNvPr id="274" name="Rectangle 273">
            <a:hlinkClick r:id="" action="ppaction://noaction"/>
            <a:extLst>
              <a:ext uri="{FF2B5EF4-FFF2-40B4-BE49-F238E27FC236}">
                <a16:creationId xmlns:a16="http://schemas.microsoft.com/office/drawing/2014/main" id="{01B8BC2B-0A1D-4661-8080-F78B5F8B107C}"/>
              </a:ext>
            </a:extLst>
          </p:cNvPr>
          <p:cNvSpPr/>
          <p:nvPr/>
        </p:nvSpPr>
        <p:spPr bwMode="auto">
          <a:xfrm>
            <a:off x="12300" y="2425369"/>
            <a:ext cx="2147700" cy="218379"/>
          </a:xfrm>
          <a:prstGeom prst="rect">
            <a:avLst/>
          </a:prstGeom>
          <a:solidFill>
            <a:schemeClr val="bg1">
              <a:alpha val="0"/>
            </a:schemeClr>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129" name="Oval 128">
            <a:extLst>
              <a:ext uri="{FF2B5EF4-FFF2-40B4-BE49-F238E27FC236}">
                <a16:creationId xmlns:a16="http://schemas.microsoft.com/office/drawing/2014/main" id="{EEBFC678-4642-4482-A5E4-15B4F919CC01}"/>
              </a:ext>
            </a:extLst>
          </p:cNvPr>
          <p:cNvSpPr/>
          <p:nvPr/>
        </p:nvSpPr>
        <p:spPr bwMode="auto">
          <a:xfrm>
            <a:off x="7609362" y="2461643"/>
            <a:ext cx="409889" cy="409889"/>
          </a:xfrm>
          <a:prstGeom prst="ellipse">
            <a:avLst/>
          </a:prstGeom>
          <a:solidFill>
            <a:schemeClr val="bg1"/>
          </a:solidFill>
          <a:ln w="38100">
            <a:solidFill>
              <a:srgbClr val="4A6274"/>
            </a:solidFill>
          </a:ln>
          <a:effectLst/>
        </p:spPr>
        <p:txBody>
          <a:bodyPr wrap="square" lIns="0" tIns="0" rIns="0" bIns="0" numCol="1" spcCol="72000" rtlCol="0" anchor="ctr">
            <a:noAutofit/>
          </a:bodyPr>
          <a:lstStyle/>
          <a:p>
            <a:pPr>
              <a:lnSpc>
                <a:spcPct val="110000"/>
              </a:lnSpc>
              <a:spcBef>
                <a:spcPct val="0"/>
              </a:spcBef>
            </a:pPr>
            <a:r>
              <a:rPr lang="en-US" b="1">
                <a:solidFill>
                  <a:schemeClr val="tx1"/>
                </a:solidFill>
              </a:rPr>
              <a:t>T</a:t>
            </a:r>
          </a:p>
        </p:txBody>
      </p:sp>
      <p:cxnSp>
        <p:nvCxnSpPr>
          <p:cNvPr id="131" name="Straight Connector 130">
            <a:extLst>
              <a:ext uri="{FF2B5EF4-FFF2-40B4-BE49-F238E27FC236}">
                <a16:creationId xmlns:a16="http://schemas.microsoft.com/office/drawing/2014/main" id="{8D5EEAE2-FF34-41E1-891F-552DFA00C85E}"/>
              </a:ext>
            </a:extLst>
          </p:cNvPr>
          <p:cNvCxnSpPr>
            <a:cxnSpLocks/>
          </p:cNvCxnSpPr>
          <p:nvPr/>
        </p:nvCxnSpPr>
        <p:spPr bwMode="auto">
          <a:xfrm>
            <a:off x="7814194" y="2301159"/>
            <a:ext cx="113" cy="160484"/>
          </a:xfrm>
          <a:prstGeom prst="line">
            <a:avLst/>
          </a:prstGeom>
          <a:solidFill>
            <a:schemeClr val="bg1"/>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36" name="TextBox 135">
            <a:extLst>
              <a:ext uri="{FF2B5EF4-FFF2-40B4-BE49-F238E27FC236}">
                <a16:creationId xmlns:a16="http://schemas.microsoft.com/office/drawing/2014/main" id="{EFAD489D-8113-4E8E-B678-ADB6866DC4BD}"/>
              </a:ext>
            </a:extLst>
          </p:cNvPr>
          <p:cNvSpPr txBox="1"/>
          <p:nvPr/>
        </p:nvSpPr>
        <p:spPr>
          <a:xfrm>
            <a:off x="10479264" y="1980414"/>
            <a:ext cx="977168" cy="187424"/>
          </a:xfrm>
          <a:prstGeom prst="rect">
            <a:avLst/>
          </a:prstGeom>
          <a:noFill/>
        </p:spPr>
        <p:txBody>
          <a:bodyPr wrap="square" lIns="0" tIns="0" rIns="0" bIns="0" rtlCol="0">
            <a:spAutoFit/>
          </a:bodyPr>
          <a:lstStyle/>
          <a:p>
            <a:pPr algn="l">
              <a:lnSpc>
                <a:spcPct val="110000"/>
              </a:lnSpc>
              <a:spcBef>
                <a:spcPts val="0"/>
              </a:spcBef>
            </a:pPr>
            <a:r>
              <a:rPr lang="en-US" sz="1200" b="1">
                <a:solidFill>
                  <a:schemeClr val="tx1"/>
                </a:solidFill>
              </a:rPr>
              <a:t>TsuSP/Tsu</a:t>
            </a:r>
          </a:p>
        </p:txBody>
      </p:sp>
      <p:sp>
        <p:nvSpPr>
          <p:cNvPr id="137" name="TextBox 136">
            <a:extLst>
              <a:ext uri="{FF2B5EF4-FFF2-40B4-BE49-F238E27FC236}">
                <a16:creationId xmlns:a16="http://schemas.microsoft.com/office/drawing/2014/main" id="{AFD8D3F5-9AAB-4277-8709-FA19C8C39AC1}"/>
              </a:ext>
            </a:extLst>
          </p:cNvPr>
          <p:cNvSpPr txBox="1"/>
          <p:nvPr/>
        </p:nvSpPr>
        <p:spPr>
          <a:xfrm>
            <a:off x="8908257" y="1963021"/>
            <a:ext cx="495622" cy="390556"/>
          </a:xfrm>
          <a:prstGeom prst="rect">
            <a:avLst/>
          </a:prstGeom>
          <a:noFill/>
        </p:spPr>
        <p:txBody>
          <a:bodyPr wrap="square" lIns="0" tIns="0" rIns="0" bIns="0" rtlCol="0">
            <a:spAutoFit/>
          </a:bodyPr>
          <a:lstStyle/>
          <a:p>
            <a:pPr algn="l">
              <a:lnSpc>
                <a:spcPct val="110000"/>
              </a:lnSpc>
              <a:spcBef>
                <a:spcPts val="0"/>
              </a:spcBef>
            </a:pPr>
            <a:r>
              <a:rPr lang="en-US" sz="1200" b="1">
                <a:solidFill>
                  <a:schemeClr val="tx1"/>
                </a:solidFill>
              </a:rPr>
              <a:t>ClgV 	</a:t>
            </a:r>
          </a:p>
        </p:txBody>
      </p:sp>
      <p:sp>
        <p:nvSpPr>
          <p:cNvPr id="138" name="TextBox 137">
            <a:extLst>
              <a:ext uri="{FF2B5EF4-FFF2-40B4-BE49-F238E27FC236}">
                <a16:creationId xmlns:a16="http://schemas.microsoft.com/office/drawing/2014/main" id="{80CCCC6D-1ED5-40F1-92A1-A26C60CBD12D}"/>
              </a:ext>
            </a:extLst>
          </p:cNvPr>
          <p:cNvSpPr txBox="1"/>
          <p:nvPr/>
        </p:nvSpPr>
        <p:spPr>
          <a:xfrm>
            <a:off x="9414738" y="1964792"/>
            <a:ext cx="495622" cy="189329"/>
          </a:xfrm>
          <a:prstGeom prst="rect">
            <a:avLst/>
          </a:prstGeom>
          <a:noFill/>
        </p:spPr>
        <p:txBody>
          <a:bodyPr wrap="square" lIns="0" tIns="0" rIns="0" bIns="0" rtlCol="0">
            <a:spAutoFit/>
          </a:bodyPr>
          <a:lstStyle/>
          <a:p>
            <a:pPr algn="l">
              <a:lnSpc>
                <a:spcPct val="110000"/>
              </a:lnSpc>
              <a:spcBef>
                <a:spcPts val="0"/>
              </a:spcBef>
            </a:pPr>
            <a:r>
              <a:rPr lang="en-US" sz="1200" b="1">
                <a:solidFill>
                  <a:schemeClr val="tx1"/>
                </a:solidFill>
              </a:rPr>
              <a:t>HtgV</a:t>
            </a:r>
          </a:p>
        </p:txBody>
      </p:sp>
      <p:sp>
        <p:nvSpPr>
          <p:cNvPr id="71" name="TextBox 70">
            <a:extLst>
              <a:ext uri="{FF2B5EF4-FFF2-40B4-BE49-F238E27FC236}">
                <a16:creationId xmlns:a16="http://schemas.microsoft.com/office/drawing/2014/main" id="{DED55080-2A03-4EA4-9C0A-CAAA478FF5D4}"/>
              </a:ext>
            </a:extLst>
          </p:cNvPr>
          <p:cNvSpPr txBox="1"/>
          <p:nvPr/>
        </p:nvSpPr>
        <p:spPr>
          <a:xfrm>
            <a:off x="10976575" y="1088451"/>
            <a:ext cx="357277" cy="187424"/>
          </a:xfrm>
          <a:prstGeom prst="rect">
            <a:avLst/>
          </a:prstGeom>
          <a:noFill/>
        </p:spPr>
        <p:txBody>
          <a:bodyPr wrap="square" lIns="0" tIns="0" rIns="0" bIns="0" rtlCol="0">
            <a:spAutoFit/>
          </a:bodyPr>
          <a:lstStyle/>
          <a:p>
            <a:pPr algn="l">
              <a:lnSpc>
                <a:spcPct val="110000"/>
              </a:lnSpc>
              <a:spcBef>
                <a:spcPts val="0"/>
              </a:spcBef>
            </a:pPr>
            <a:r>
              <a:rPr lang="en-US" sz="1200" b="1">
                <a:solidFill>
                  <a:schemeClr val="tx1"/>
                </a:solidFill>
              </a:rPr>
              <a:t>Toa</a:t>
            </a:r>
          </a:p>
        </p:txBody>
      </p:sp>
      <p:sp>
        <p:nvSpPr>
          <p:cNvPr id="72" name="Rectangle 3">
            <a:extLst>
              <a:ext uri="{FF2B5EF4-FFF2-40B4-BE49-F238E27FC236}">
                <a16:creationId xmlns:a16="http://schemas.microsoft.com/office/drawing/2014/main" id="{2EEF17EA-1DC9-4275-BDD0-9F35E1BC00E3}"/>
              </a:ext>
            </a:extLst>
          </p:cNvPr>
          <p:cNvSpPr txBox="1">
            <a:spLocks noChangeArrowheads="1"/>
          </p:cNvSpPr>
          <p:nvPr/>
        </p:nvSpPr>
        <p:spPr bwMode="auto">
          <a:xfrm>
            <a:off x="2528037" y="3634829"/>
            <a:ext cx="8869530" cy="295069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88" lvl="1" indent="0">
              <a:buNone/>
            </a:pPr>
            <a:r>
              <a:rPr lang="en-US" altLang="en-US" sz="1400" b="1" kern="0" dirty="0"/>
              <a:t>Exercise 1. Binary input, fire </a:t>
            </a:r>
          </a:p>
          <a:p>
            <a:pPr marL="1588" lvl="1" indent="0">
              <a:buNone/>
            </a:pPr>
            <a:r>
              <a:rPr lang="en-US" altLang="en-US" sz="1400" kern="0" dirty="0"/>
              <a:t>Whenever the fire contact is open the binary input object generates an alarm, and the whole unit is turned off accordingly. This alarm is not self-released. </a:t>
            </a:r>
          </a:p>
          <a:p>
            <a:pPr marL="1588" lvl="1" indent="0">
              <a:buNone/>
            </a:pPr>
            <a:endParaRPr lang="en-US" altLang="en-US" sz="1400" kern="0" dirty="0"/>
          </a:p>
          <a:p>
            <a:pPr marL="1588" lvl="1" indent="0">
              <a:buNone/>
            </a:pPr>
            <a:r>
              <a:rPr lang="en-US" altLang="en-US" sz="1400" b="1" kern="0" dirty="0"/>
              <a:t>Exercise 2. Analog input, supply temperature</a:t>
            </a:r>
          </a:p>
          <a:p>
            <a:pPr marL="1588" lvl="1" indent="0">
              <a:buNone/>
            </a:pPr>
            <a:r>
              <a:rPr lang="en-US" altLang="en-US" sz="1400" kern="0" dirty="0"/>
              <a:t>When the measured temperature value is out of high- and low-limit range, an </a:t>
            </a:r>
            <a:r>
              <a:rPr lang="en-US" altLang="en-US" sz="1400" kern="0" dirty="0" err="1"/>
              <a:t>OffNormal</a:t>
            </a:r>
            <a:r>
              <a:rPr lang="en-US" altLang="en-US" sz="1400" kern="0" dirty="0"/>
              <a:t> event is triggered which generates an alarm. Reliability issue such as sensor not connected, triggered Fault event and also generates an alarm. The alarm is self-released.</a:t>
            </a:r>
          </a:p>
          <a:p>
            <a:pPr lvl="1">
              <a:buFont typeface="Wingdings" panose="05000000000000000000" pitchFamily="2" charset="2"/>
              <a:buChar char="§"/>
            </a:pPr>
            <a:endParaRPr lang="en-US" altLang="en-US" sz="1400" kern="0" dirty="0"/>
          </a:p>
          <a:p>
            <a:pPr marL="1588" lvl="1" indent="0">
              <a:buNone/>
            </a:pPr>
            <a:r>
              <a:rPr lang="en-US" altLang="en-US" sz="1400" b="1" kern="0" dirty="0"/>
              <a:t>Exercise 3. Binary output, supply and extract fan</a:t>
            </a:r>
          </a:p>
          <a:p>
            <a:pPr marL="1588" lvl="1" indent="0">
              <a:buNone/>
            </a:pPr>
            <a:r>
              <a:rPr lang="en-US" altLang="en-US" sz="1400" kern="0" dirty="0"/>
              <a:t>When the fan feedback signal is not same as fan command output, an alarm is generated and the whole unit is turned off. This alarm is not self-released.</a:t>
            </a:r>
          </a:p>
        </p:txBody>
      </p:sp>
      <p:sp>
        <p:nvSpPr>
          <p:cNvPr id="73" name="Textfeld 337">
            <a:extLst>
              <a:ext uri="{FF2B5EF4-FFF2-40B4-BE49-F238E27FC236}">
                <a16:creationId xmlns:a16="http://schemas.microsoft.com/office/drawing/2014/main" id="{24E5BB87-2C5E-4B19-BBA1-EBB5716D0DF7}"/>
              </a:ext>
            </a:extLst>
          </p:cNvPr>
          <p:cNvSpPr txBox="1"/>
          <p:nvPr/>
        </p:nvSpPr>
        <p:spPr>
          <a:xfrm>
            <a:off x="-2541" y="4636355"/>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Alarming</a:t>
            </a:r>
            <a:endParaRPr lang="en-US" sz="1100" b="0" u="none" strike="noStrike" kern="1200" dirty="0">
              <a:effectLst/>
              <a:latin typeface="+mj-lt"/>
              <a:ea typeface="+mn-ea"/>
            </a:endParaRPr>
          </a:p>
        </p:txBody>
      </p:sp>
    </p:spTree>
    <p:extLst>
      <p:ext uri="{BB962C8B-B14F-4D97-AF65-F5344CB8AC3E}">
        <p14:creationId xmlns:p14="http://schemas.microsoft.com/office/powerpoint/2010/main" val="1645637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2">
                                            <p:txEl>
                                              <p:pRg st="3" end="3"/>
                                            </p:txEl>
                                          </p:spTgt>
                                        </p:tgtEl>
                                        <p:attrNameLst>
                                          <p:attrName>style.visibility</p:attrName>
                                        </p:attrNameLst>
                                      </p:cBhvr>
                                      <p:to>
                                        <p:strVal val="visible"/>
                                      </p:to>
                                    </p:set>
                                    <p:animEffect transition="in" filter="fade">
                                      <p:cBhvr>
                                        <p:cTn id="7" dur="500"/>
                                        <p:tgtEl>
                                          <p:spTgt spid="72">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2">
                                            <p:txEl>
                                              <p:pRg st="4" end="4"/>
                                            </p:txEl>
                                          </p:spTgt>
                                        </p:tgtEl>
                                        <p:attrNameLst>
                                          <p:attrName>style.visibility</p:attrName>
                                        </p:attrNameLst>
                                      </p:cBhvr>
                                      <p:to>
                                        <p:strVal val="visible"/>
                                      </p:to>
                                    </p:set>
                                    <p:animEffect transition="in" filter="fade">
                                      <p:cBhvr>
                                        <p:cTn id="10" dur="500"/>
                                        <p:tgtEl>
                                          <p:spTgt spid="72">
                                            <p:txEl>
                                              <p:pRg st="4" end="4"/>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2">
                                            <p:txEl>
                                              <p:pRg st="6" end="6"/>
                                            </p:txEl>
                                          </p:spTgt>
                                        </p:tgtEl>
                                        <p:attrNameLst>
                                          <p:attrName>style.visibility</p:attrName>
                                        </p:attrNameLst>
                                      </p:cBhvr>
                                      <p:to>
                                        <p:strVal val="visible"/>
                                      </p:to>
                                    </p:set>
                                    <p:animEffect transition="in" filter="fade">
                                      <p:cBhvr>
                                        <p:cTn id="15" dur="500"/>
                                        <p:tgtEl>
                                          <p:spTgt spid="72">
                                            <p:txEl>
                                              <p:pRg st="6" end="6"/>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2">
                                            <p:txEl>
                                              <p:pRg st="7" end="7"/>
                                            </p:txEl>
                                          </p:spTgt>
                                        </p:tgtEl>
                                        <p:attrNameLst>
                                          <p:attrName>style.visibility</p:attrName>
                                        </p:attrNameLst>
                                      </p:cBhvr>
                                      <p:to>
                                        <p:strVal val="visible"/>
                                      </p:to>
                                    </p:set>
                                    <p:animEffect transition="in" filter="fade">
                                      <p:cBhvr>
                                        <p:cTn id="18" dur="500"/>
                                        <p:tgtEl>
                                          <p:spTgt spid="7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br>
              <a:rPr lang="en-US" noProof="0"/>
            </a:br>
            <a:endParaRPr lang="en-US" noProof="0"/>
          </a:p>
        </p:txBody>
      </p:sp>
      <p:sp>
        <p:nvSpPr>
          <p:cNvPr id="3" name="Rectangle 3">
            <a:extLst>
              <a:ext uri="{FF2B5EF4-FFF2-40B4-BE49-F238E27FC236}">
                <a16:creationId xmlns:a16="http://schemas.microsoft.com/office/drawing/2014/main" id="{50E17820-B62F-4719-80D9-FEC26EF1D72C}"/>
              </a:ext>
            </a:extLst>
          </p:cNvPr>
          <p:cNvSpPr txBox="1">
            <a:spLocks noChangeArrowheads="1"/>
          </p:cNvSpPr>
          <p:nvPr/>
        </p:nvSpPr>
        <p:spPr bwMode="auto">
          <a:xfrm>
            <a:off x="2381214" y="605013"/>
            <a:ext cx="4135333" cy="1439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buFont typeface="Wingdings" panose="05000000000000000000" pitchFamily="2" charset="2"/>
              <a:buChar char="§"/>
            </a:pPr>
            <a:r>
              <a:rPr lang="en-US" altLang="en-US" sz="1600" b="1" kern="0" dirty="0"/>
              <a:t>Alarm message classes </a:t>
            </a:r>
            <a:r>
              <a:rPr lang="en-US" altLang="en-US" sz="1600" kern="0" dirty="0"/>
              <a:t>are used for large projects to categorize the alarm messages for </a:t>
            </a:r>
            <a:r>
              <a:rPr lang="en-US" altLang="en-US" sz="1600" b="1" kern="0" dirty="0"/>
              <a:t>filtering </a:t>
            </a:r>
            <a:r>
              <a:rPr lang="en-US" altLang="en-US" sz="1600" kern="0" dirty="0"/>
              <a:t>and</a:t>
            </a:r>
            <a:r>
              <a:rPr lang="en-US" altLang="en-US" sz="1600" b="1" kern="0" dirty="0"/>
              <a:t> distribution </a:t>
            </a:r>
            <a:r>
              <a:rPr lang="en-US" altLang="en-US" sz="1600" kern="0" dirty="0"/>
              <a:t>purposes.</a:t>
            </a:r>
          </a:p>
          <a:p>
            <a:pPr lvl="1">
              <a:buFont typeface="Wingdings" panose="05000000000000000000" pitchFamily="2" charset="2"/>
              <a:buChar char="§"/>
            </a:pPr>
            <a:endParaRPr lang="en-US" altLang="en-US" sz="1600" kern="0" dirty="0"/>
          </a:p>
          <a:p>
            <a:pPr lvl="1">
              <a:buFont typeface="Wingdings" panose="05000000000000000000" pitchFamily="2" charset="2"/>
              <a:buChar char="§"/>
            </a:pPr>
            <a:r>
              <a:rPr lang="en-US" altLang="en-US" sz="1600" kern="0" dirty="0"/>
              <a:t>Each object that supports alarming (</a:t>
            </a:r>
            <a:r>
              <a:rPr lang="en-US" altLang="en-US" sz="1600" kern="0" dirty="0" err="1"/>
              <a:t>OffNormal</a:t>
            </a:r>
            <a:r>
              <a:rPr lang="en-US" altLang="en-US" sz="1600" kern="0" dirty="0"/>
              <a:t> and Fault) should have the message class defined.</a:t>
            </a:r>
          </a:p>
        </p:txBody>
      </p:sp>
      <p:pic>
        <p:nvPicPr>
          <p:cNvPr id="7" name="Picture 6">
            <a:extLst>
              <a:ext uri="{FF2B5EF4-FFF2-40B4-BE49-F238E27FC236}">
                <a16:creationId xmlns:a16="http://schemas.microsoft.com/office/drawing/2014/main" id="{8896ABBA-4483-4B87-9AE4-D858136B2F4A}"/>
              </a:ext>
            </a:extLst>
          </p:cNvPr>
          <p:cNvPicPr>
            <a:picLocks noChangeAspect="1"/>
          </p:cNvPicPr>
          <p:nvPr/>
        </p:nvPicPr>
        <p:blipFill>
          <a:blip r:embed="rId2"/>
          <a:stretch>
            <a:fillRect/>
          </a:stretch>
        </p:blipFill>
        <p:spPr>
          <a:xfrm>
            <a:off x="6684214" y="785088"/>
            <a:ext cx="6777143" cy="5458102"/>
          </a:xfrm>
          <a:prstGeom prst="rect">
            <a:avLst/>
          </a:prstGeom>
        </p:spPr>
      </p:pic>
      <p:grpSp>
        <p:nvGrpSpPr>
          <p:cNvPr id="16" name="Group 15">
            <a:extLst>
              <a:ext uri="{FF2B5EF4-FFF2-40B4-BE49-F238E27FC236}">
                <a16:creationId xmlns:a16="http://schemas.microsoft.com/office/drawing/2014/main" id="{A5DAC378-A5DE-4482-8975-0D93B2EC8886}"/>
              </a:ext>
            </a:extLst>
          </p:cNvPr>
          <p:cNvGrpSpPr/>
          <p:nvPr/>
        </p:nvGrpSpPr>
        <p:grpSpPr>
          <a:xfrm>
            <a:off x="2381214" y="2532189"/>
            <a:ext cx="4583872" cy="2424879"/>
            <a:chOff x="1483415" y="3038204"/>
            <a:chExt cx="3240360" cy="1714158"/>
          </a:xfrm>
        </p:grpSpPr>
        <p:pic>
          <p:nvPicPr>
            <p:cNvPr id="5" name="Picture 4">
              <a:extLst>
                <a:ext uri="{FF2B5EF4-FFF2-40B4-BE49-F238E27FC236}">
                  <a16:creationId xmlns:a16="http://schemas.microsoft.com/office/drawing/2014/main" id="{BC93E0E2-C694-4569-A6EC-6BB3D15B333A}"/>
                </a:ext>
              </a:extLst>
            </p:cNvPr>
            <p:cNvPicPr>
              <a:picLocks noChangeAspect="1"/>
            </p:cNvPicPr>
            <p:nvPr/>
          </p:nvPicPr>
          <p:blipFill>
            <a:blip r:embed="rId3"/>
            <a:stretch>
              <a:fillRect/>
            </a:stretch>
          </p:blipFill>
          <p:spPr>
            <a:xfrm>
              <a:off x="1483415" y="3038204"/>
              <a:ext cx="3240360" cy="1714158"/>
            </a:xfrm>
            <a:prstGeom prst="rect">
              <a:avLst/>
            </a:prstGeom>
          </p:spPr>
        </p:pic>
        <p:sp>
          <p:nvSpPr>
            <p:cNvPr id="8" name="Rectangle 6">
              <a:extLst>
                <a:ext uri="{FF2B5EF4-FFF2-40B4-BE49-F238E27FC236}">
                  <a16:creationId xmlns:a16="http://schemas.microsoft.com/office/drawing/2014/main" id="{5BA56233-C79F-4818-A2E9-B0B1FB824B47}"/>
                </a:ext>
              </a:extLst>
            </p:cNvPr>
            <p:cNvSpPr>
              <a:spLocks noChangeArrowheads="1"/>
            </p:cNvSpPr>
            <p:nvPr/>
          </p:nvSpPr>
          <p:spPr bwMode="auto">
            <a:xfrm>
              <a:off x="1526667" y="3371918"/>
              <a:ext cx="1728192" cy="180975"/>
            </a:xfrm>
            <a:prstGeom prst="rect">
              <a:avLst/>
            </a:prstGeom>
            <a:noFill/>
            <a:ln w="38100" algn="ctr">
              <a:solidFill>
                <a:srgbClr val="0080B6"/>
              </a:solidFill>
              <a:miter lim="800000"/>
              <a:headEnd/>
              <a:tailEnd/>
            </a:ln>
            <a:extLst>
              <a:ext uri="{909E8E84-426E-40DD-AFC4-6F175D3DCCD1}">
                <a14:hiddenFill xmlns:a14="http://schemas.microsoft.com/office/drawing/2010/main">
                  <a:solidFill>
                    <a:srgbClr val="FFFFFF"/>
                  </a:solidFill>
                </a14:hiddenFill>
              </a:ext>
            </a:extLst>
          </p:spPr>
          <p:txBody>
            <a:bodyPr wrap="none" lIns="35991" tIns="35991" rIns="35991" bIns="35991" anchor="ct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ctr" eaLnBrk="1" hangingPunct="1">
                <a:spcAft>
                  <a:spcPct val="50000"/>
                </a:spcAft>
                <a:buFontTx/>
                <a:buNone/>
              </a:pPr>
              <a:endParaRPr lang="en-US" altLang="en-US" sz="1600"/>
            </a:p>
          </p:txBody>
        </p:sp>
        <p:sp>
          <p:nvSpPr>
            <p:cNvPr id="9" name="Rectangle 6">
              <a:extLst>
                <a:ext uri="{FF2B5EF4-FFF2-40B4-BE49-F238E27FC236}">
                  <a16:creationId xmlns:a16="http://schemas.microsoft.com/office/drawing/2014/main" id="{6CED7BC3-63BE-4E45-9E5C-751262797381}"/>
                </a:ext>
              </a:extLst>
            </p:cNvPr>
            <p:cNvSpPr>
              <a:spLocks noChangeArrowheads="1"/>
            </p:cNvSpPr>
            <p:nvPr/>
          </p:nvSpPr>
          <p:spPr bwMode="auto">
            <a:xfrm>
              <a:off x="1526667" y="3971652"/>
              <a:ext cx="1728192" cy="180975"/>
            </a:xfrm>
            <a:prstGeom prst="rect">
              <a:avLst/>
            </a:prstGeom>
            <a:noFill/>
            <a:ln w="38100" algn="ctr">
              <a:solidFill>
                <a:srgbClr val="0080B6"/>
              </a:solidFill>
              <a:miter lim="800000"/>
              <a:headEnd/>
              <a:tailEnd/>
            </a:ln>
            <a:extLst>
              <a:ext uri="{909E8E84-426E-40DD-AFC4-6F175D3DCCD1}">
                <a14:hiddenFill xmlns:a14="http://schemas.microsoft.com/office/drawing/2010/main">
                  <a:solidFill>
                    <a:srgbClr val="FFFFFF"/>
                  </a:solidFill>
                </a14:hiddenFill>
              </a:ext>
            </a:extLst>
          </p:spPr>
          <p:txBody>
            <a:bodyPr wrap="none" lIns="35991" tIns="35991" rIns="35991" bIns="35991" anchor="ct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ctr" eaLnBrk="1" hangingPunct="1">
                <a:spcAft>
                  <a:spcPct val="50000"/>
                </a:spcAft>
                <a:buFontTx/>
                <a:buNone/>
              </a:pPr>
              <a:endParaRPr lang="en-US" altLang="en-US" sz="1600" dirty="0"/>
            </a:p>
          </p:txBody>
        </p:sp>
        <p:sp>
          <p:nvSpPr>
            <p:cNvPr id="10" name="Rectangle 6">
              <a:extLst>
                <a:ext uri="{FF2B5EF4-FFF2-40B4-BE49-F238E27FC236}">
                  <a16:creationId xmlns:a16="http://schemas.microsoft.com/office/drawing/2014/main" id="{189BB0B8-049E-4352-9E41-9360EA7C648B}"/>
                </a:ext>
              </a:extLst>
            </p:cNvPr>
            <p:cNvSpPr>
              <a:spLocks noChangeArrowheads="1"/>
            </p:cNvSpPr>
            <p:nvPr/>
          </p:nvSpPr>
          <p:spPr bwMode="auto">
            <a:xfrm>
              <a:off x="3852430" y="3567030"/>
              <a:ext cx="446545" cy="585597"/>
            </a:xfrm>
            <a:prstGeom prst="rect">
              <a:avLst/>
            </a:prstGeom>
            <a:noFill/>
            <a:ln w="38100" algn="ctr">
              <a:solidFill>
                <a:srgbClr val="0080B6"/>
              </a:solidFill>
              <a:miter lim="800000"/>
              <a:headEnd/>
              <a:tailEnd/>
            </a:ln>
            <a:extLst>
              <a:ext uri="{909E8E84-426E-40DD-AFC4-6F175D3DCCD1}">
                <a14:hiddenFill xmlns:a14="http://schemas.microsoft.com/office/drawing/2010/main">
                  <a:solidFill>
                    <a:srgbClr val="FFFFFF"/>
                  </a:solidFill>
                </a14:hiddenFill>
              </a:ext>
            </a:extLst>
          </p:spPr>
          <p:txBody>
            <a:bodyPr wrap="none" lIns="35991" tIns="35991" rIns="35991" bIns="35991" anchor="ct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ctr" eaLnBrk="1" hangingPunct="1">
                <a:spcAft>
                  <a:spcPct val="50000"/>
                </a:spcAft>
                <a:buFontTx/>
                <a:buNone/>
              </a:pPr>
              <a:endParaRPr lang="en-US" altLang="en-US" sz="1600"/>
            </a:p>
          </p:txBody>
        </p:sp>
      </p:grpSp>
      <p:cxnSp>
        <p:nvCxnSpPr>
          <p:cNvPr id="12" name="Straight Arrow Connector 11">
            <a:extLst>
              <a:ext uri="{FF2B5EF4-FFF2-40B4-BE49-F238E27FC236}">
                <a16:creationId xmlns:a16="http://schemas.microsoft.com/office/drawing/2014/main" id="{2933AB56-70F4-4DF1-B3EF-311F6B662647}"/>
              </a:ext>
            </a:extLst>
          </p:cNvPr>
          <p:cNvCxnSpPr>
            <a:cxnSpLocks/>
          </p:cNvCxnSpPr>
          <p:nvPr/>
        </p:nvCxnSpPr>
        <p:spPr bwMode="auto">
          <a:xfrm flipV="1">
            <a:off x="6382843" y="1158240"/>
            <a:ext cx="643428" cy="2203992"/>
          </a:xfrm>
          <a:prstGeom prst="straightConnector1">
            <a:avLst/>
          </a:prstGeom>
          <a:solidFill>
            <a:schemeClr val="tx2"/>
          </a:solidFill>
          <a:ln w="9525"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Rectangle 3">
            <a:extLst>
              <a:ext uri="{FF2B5EF4-FFF2-40B4-BE49-F238E27FC236}">
                <a16:creationId xmlns:a16="http://schemas.microsoft.com/office/drawing/2014/main" id="{DD9298ED-6A82-4DC3-AD08-8F216D399BED}"/>
              </a:ext>
            </a:extLst>
          </p:cNvPr>
          <p:cNvSpPr txBox="1">
            <a:spLocks noChangeArrowheads="1"/>
          </p:cNvSpPr>
          <p:nvPr/>
        </p:nvSpPr>
        <p:spPr bwMode="auto">
          <a:xfrm>
            <a:off x="2451068" y="5062223"/>
            <a:ext cx="4366421" cy="17137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lvl="1">
              <a:buFont typeface="Wingdings" panose="05000000000000000000" pitchFamily="2" charset="2"/>
              <a:buChar char="§"/>
            </a:pPr>
            <a:r>
              <a:rPr lang="en-US" altLang="en-US" sz="1600" kern="0" dirty="0"/>
              <a:t>Danger 		– life safety (fire)</a:t>
            </a:r>
          </a:p>
          <a:p>
            <a:pPr lvl="1">
              <a:buFont typeface="Wingdings" panose="05000000000000000000" pitchFamily="2" charset="2"/>
              <a:buChar char="§"/>
            </a:pPr>
            <a:r>
              <a:rPr lang="en-US" altLang="en-US" sz="1600" kern="0" dirty="0"/>
              <a:t>Error or fault 	– critical equipment failure</a:t>
            </a:r>
          </a:p>
          <a:p>
            <a:pPr lvl="1">
              <a:buFont typeface="Wingdings" panose="05000000000000000000" pitchFamily="2" charset="2"/>
              <a:buChar char="§"/>
            </a:pPr>
            <a:r>
              <a:rPr lang="en-US" altLang="en-US" sz="1600" kern="0" dirty="0"/>
              <a:t>Warning 	– low or high temperature</a:t>
            </a:r>
          </a:p>
          <a:p>
            <a:pPr lvl="1">
              <a:buFont typeface="Wingdings" panose="05000000000000000000" pitchFamily="2" charset="2"/>
              <a:buChar char="§"/>
            </a:pPr>
            <a:r>
              <a:rPr lang="en-US" altLang="en-US" sz="1600" kern="0" dirty="0"/>
              <a:t>Maintenance 	– filter dirty</a:t>
            </a:r>
          </a:p>
        </p:txBody>
      </p:sp>
      <p:sp>
        <p:nvSpPr>
          <p:cNvPr id="40" name="cdtText Box 4 Id114692">
            <a:extLst>
              <a:ext uri="{FF2B5EF4-FFF2-40B4-BE49-F238E27FC236}">
                <a16:creationId xmlns:a16="http://schemas.microsoft.com/office/drawing/2014/main" id="{571AD84A-8C44-4932-82D0-18495FC0A60F}"/>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Climatix system is compliant with BACnet</a:t>
            </a:r>
          </a:p>
        </p:txBody>
      </p:sp>
      <p:sp>
        <p:nvSpPr>
          <p:cNvPr id="14" name="Textfeld 337">
            <a:extLst>
              <a:ext uri="{FF2B5EF4-FFF2-40B4-BE49-F238E27FC236}">
                <a16:creationId xmlns:a16="http://schemas.microsoft.com/office/drawing/2014/main" id="{3972DBD3-D31E-4900-8497-45611B8650A3}"/>
              </a:ext>
            </a:extLst>
          </p:cNvPr>
          <p:cNvSpPr txBox="1"/>
          <p:nvPr/>
        </p:nvSpPr>
        <p:spPr>
          <a:xfrm>
            <a:off x="-2541" y="4636355"/>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Alarming</a:t>
            </a:r>
            <a:endParaRPr lang="en-US" sz="1100" b="0" u="none" strike="noStrike" kern="1200" dirty="0">
              <a:effectLst/>
              <a:latin typeface="+mj-lt"/>
              <a:ea typeface="+mn-ea"/>
            </a:endParaRPr>
          </a:p>
        </p:txBody>
      </p:sp>
    </p:spTree>
    <p:extLst>
      <p:ext uri="{BB962C8B-B14F-4D97-AF65-F5344CB8AC3E}">
        <p14:creationId xmlns:p14="http://schemas.microsoft.com/office/powerpoint/2010/main" val="752877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dtText Box 4 Id114692">
            <a:extLst>
              <a:ext uri="{FF2B5EF4-FFF2-40B4-BE49-F238E27FC236}">
                <a16:creationId xmlns:a16="http://schemas.microsoft.com/office/drawing/2014/main" id="{A9D7DEF1-983A-4481-8ADB-8E5C8BE63BDF}"/>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a:solidFill>
                  <a:schemeClr val="bg1"/>
                </a:solidFill>
              </a:rPr>
              <a:t>Trending and Archiving </a:t>
            </a:r>
            <a:r>
              <a:rPr lang="en-US" sz="1600" err="1">
                <a:solidFill>
                  <a:schemeClr val="bg1"/>
                </a:solidFill>
              </a:rPr>
              <a:t>Archiving</a:t>
            </a:r>
            <a:r>
              <a:rPr lang="en-US" sz="1600">
                <a:solidFill>
                  <a:schemeClr val="bg1"/>
                </a:solidFill>
              </a:rPr>
              <a:t> - principle </a:t>
            </a:r>
          </a:p>
        </p:txBody>
      </p:sp>
      <p:sp>
        <p:nvSpPr>
          <p:cNvPr id="25" name="Textfeld 337">
            <a:extLst>
              <a:ext uri="{FF2B5EF4-FFF2-40B4-BE49-F238E27FC236}">
                <a16:creationId xmlns:a16="http://schemas.microsoft.com/office/drawing/2014/main" id="{3AF1FDA9-1C91-4CB1-B6CA-A18192544398}"/>
              </a:ext>
            </a:extLst>
          </p:cNvPr>
          <p:cNvSpPr txBox="1"/>
          <p:nvPr/>
        </p:nvSpPr>
        <p:spPr>
          <a:xfrm>
            <a:off x="-1" y="4413970"/>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Trend logging / Archive</a:t>
            </a:r>
            <a:endParaRPr lang="en-US" sz="1100" b="0" u="none" strike="noStrike" kern="1200" dirty="0">
              <a:effectLst/>
              <a:latin typeface="+mj-lt"/>
              <a:ea typeface="+mn-ea"/>
            </a:endParaRPr>
          </a:p>
        </p:txBody>
      </p:sp>
      <p:cxnSp>
        <p:nvCxnSpPr>
          <p:cNvPr id="29" name="Straight Connector 28">
            <a:extLst>
              <a:ext uri="{FF2B5EF4-FFF2-40B4-BE49-F238E27FC236}">
                <a16:creationId xmlns:a16="http://schemas.microsoft.com/office/drawing/2014/main" id="{A5E2F7F8-77AE-455A-AC8E-9C7A331CDEFE}"/>
              </a:ext>
            </a:extLst>
          </p:cNvPr>
          <p:cNvCxnSpPr/>
          <p:nvPr/>
        </p:nvCxnSpPr>
        <p:spPr bwMode="auto">
          <a:xfrm flipH="1">
            <a:off x="2163387" y="-531440"/>
            <a:ext cx="64060" cy="7384524"/>
          </a:xfrm>
          <a:prstGeom prst="line">
            <a:avLst/>
          </a:prstGeom>
          <a:solidFill>
            <a:schemeClr val="tx2"/>
          </a:solidFill>
          <a:ln w="381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5" name="cdtText Box 4 Id114692">
            <a:extLst>
              <a:ext uri="{FF2B5EF4-FFF2-40B4-BE49-F238E27FC236}">
                <a16:creationId xmlns:a16="http://schemas.microsoft.com/office/drawing/2014/main" id="{BA49EE46-AD2E-4E35-BD5D-94D54EC1FE12}"/>
              </a:ext>
            </a:extLst>
          </p:cNvPr>
          <p:cNvSpPr txBox="1">
            <a:spLocks noChangeArrowheads="1"/>
          </p:cNvSpPr>
          <p:nvPr/>
        </p:nvSpPr>
        <p:spPr bwMode="gray">
          <a:xfrm>
            <a:off x="2159999" y="0"/>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a:solidFill>
                  <a:schemeClr val="bg1"/>
                </a:solidFill>
              </a:rPr>
              <a:t>Programming basics</a:t>
            </a:r>
          </a:p>
        </p:txBody>
      </p:sp>
      <p:sp>
        <p:nvSpPr>
          <p:cNvPr id="96" name="cdtText Box 4 Id114692">
            <a:extLst>
              <a:ext uri="{FF2B5EF4-FFF2-40B4-BE49-F238E27FC236}">
                <a16:creationId xmlns:a16="http://schemas.microsoft.com/office/drawing/2014/main" id="{F58902F7-74F5-40D2-95E0-489AE3763F2D}"/>
              </a:ext>
            </a:extLst>
          </p:cNvPr>
          <p:cNvSpPr txBox="1">
            <a:spLocks noChangeArrowheads="1"/>
          </p:cNvSpPr>
          <p:nvPr/>
        </p:nvSpPr>
        <p:spPr bwMode="gray">
          <a:xfrm>
            <a:off x="2159999" y="0"/>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a:solidFill>
                  <a:schemeClr val="bg1"/>
                </a:solidFill>
              </a:rPr>
              <a:t>Introduction</a:t>
            </a:r>
          </a:p>
        </p:txBody>
      </p:sp>
      <p:sp>
        <p:nvSpPr>
          <p:cNvPr id="7" name="TextBox 6">
            <a:extLst>
              <a:ext uri="{FF2B5EF4-FFF2-40B4-BE49-F238E27FC236}">
                <a16:creationId xmlns:a16="http://schemas.microsoft.com/office/drawing/2014/main" id="{F1C72932-A1AF-414C-AA2E-197BBE995B80}"/>
              </a:ext>
            </a:extLst>
          </p:cNvPr>
          <p:cNvSpPr txBox="1"/>
          <p:nvPr/>
        </p:nvSpPr>
        <p:spPr>
          <a:xfrm>
            <a:off x="2311411" y="564401"/>
            <a:ext cx="9731185" cy="4682757"/>
          </a:xfrm>
          <a:prstGeom prst="rect">
            <a:avLst/>
          </a:prstGeom>
          <a:noFill/>
        </p:spPr>
        <p:txBody>
          <a:bodyPr wrap="square" lIns="0" tIns="0" rIns="0" bIns="0" rtlCol="0">
            <a:spAutoFit/>
          </a:bodyPr>
          <a:lstStyle/>
          <a:p>
            <a:pPr algn="l">
              <a:lnSpc>
                <a:spcPct val="110000"/>
              </a:lnSpc>
              <a:spcBef>
                <a:spcPts val="0"/>
              </a:spcBef>
            </a:pPr>
            <a:r>
              <a:rPr lang="en-US" sz="2000" dirty="0">
                <a:solidFill>
                  <a:schemeClr val="tx1"/>
                </a:solidFill>
              </a:rPr>
              <a:t>Trend logs are very useful for testing, performance analysis and trouble shooting.</a:t>
            </a:r>
          </a:p>
          <a:p>
            <a:pPr algn="l">
              <a:lnSpc>
                <a:spcPct val="110000"/>
              </a:lnSpc>
              <a:spcBef>
                <a:spcPts val="0"/>
              </a:spcBef>
            </a:pPr>
            <a:endParaRPr lang="en-US" sz="2000" dirty="0">
              <a:solidFill>
                <a:schemeClr val="tx1"/>
              </a:solidFill>
            </a:endParaRPr>
          </a:p>
          <a:p>
            <a:pPr algn="l">
              <a:lnSpc>
                <a:spcPct val="110000"/>
              </a:lnSpc>
              <a:spcBef>
                <a:spcPts val="0"/>
              </a:spcBef>
            </a:pPr>
            <a:r>
              <a:rPr lang="en-US" sz="2000" dirty="0">
                <a:solidFill>
                  <a:schemeClr val="tx1"/>
                </a:solidFill>
              </a:rPr>
              <a:t>The SCOPE tool provides two options to analyze historical data</a:t>
            </a:r>
          </a:p>
          <a:p>
            <a:pPr marL="342900" indent="-342900" algn="l">
              <a:lnSpc>
                <a:spcPct val="110000"/>
              </a:lnSpc>
              <a:spcBef>
                <a:spcPts val="0"/>
              </a:spcBef>
              <a:buFont typeface="Arial" panose="020B0604020202020204" pitchFamily="34" charset="0"/>
              <a:buChar char="•"/>
            </a:pPr>
            <a:endParaRPr lang="en-US" sz="2000" dirty="0">
              <a:solidFill>
                <a:schemeClr val="tx1"/>
              </a:solidFill>
            </a:endParaRPr>
          </a:p>
          <a:p>
            <a:pPr algn="l">
              <a:lnSpc>
                <a:spcPct val="110000"/>
              </a:lnSpc>
              <a:spcBef>
                <a:spcPts val="0"/>
              </a:spcBef>
            </a:pPr>
            <a:r>
              <a:rPr lang="en-US" sz="2000" b="1" dirty="0">
                <a:solidFill>
                  <a:schemeClr val="tx1"/>
                </a:solidFill>
              </a:rPr>
              <a:t>Online trend (Real time)</a:t>
            </a:r>
          </a:p>
          <a:p>
            <a:pPr marL="342900" lvl="1" indent="-342900" algn="l">
              <a:lnSpc>
                <a:spcPct val="110000"/>
              </a:lnSpc>
              <a:spcBef>
                <a:spcPts val="0"/>
              </a:spcBef>
              <a:spcAft>
                <a:spcPts val="600"/>
              </a:spcAft>
              <a:buFont typeface="Wingdings" panose="05000000000000000000" pitchFamily="2" charset="2"/>
              <a:buChar char="§"/>
            </a:pPr>
            <a:r>
              <a:rPr lang="en-US" sz="2000" dirty="0">
                <a:solidFill>
                  <a:schemeClr val="tx1"/>
                </a:solidFill>
              </a:rPr>
              <a:t>Shows online values in a time-based profile view. </a:t>
            </a:r>
          </a:p>
          <a:p>
            <a:pPr marL="342900" lvl="1" indent="-342900" algn="l">
              <a:lnSpc>
                <a:spcPct val="110000"/>
              </a:lnSpc>
              <a:spcBef>
                <a:spcPts val="0"/>
              </a:spcBef>
              <a:spcAft>
                <a:spcPts val="600"/>
              </a:spcAft>
              <a:buFont typeface="Wingdings" panose="05000000000000000000" pitchFamily="2" charset="2"/>
              <a:buChar char="§"/>
            </a:pPr>
            <a:r>
              <a:rPr lang="en-US" sz="2000" dirty="0">
                <a:solidFill>
                  <a:schemeClr val="tx1"/>
                </a:solidFill>
              </a:rPr>
              <a:t>Data can be exported to a csv File.</a:t>
            </a:r>
          </a:p>
          <a:p>
            <a:pPr marL="342900" indent="-342900" algn="l">
              <a:lnSpc>
                <a:spcPct val="110000"/>
              </a:lnSpc>
              <a:spcBef>
                <a:spcPts val="0"/>
              </a:spcBef>
              <a:buFont typeface="Arial" panose="020B0604020202020204" pitchFamily="34" charset="0"/>
              <a:buChar char="•"/>
            </a:pPr>
            <a:endParaRPr lang="en-US" sz="2000" dirty="0">
              <a:solidFill>
                <a:schemeClr val="tx1"/>
              </a:solidFill>
            </a:endParaRPr>
          </a:p>
          <a:p>
            <a:pPr algn="l">
              <a:lnSpc>
                <a:spcPct val="110000"/>
              </a:lnSpc>
              <a:spcBef>
                <a:spcPts val="0"/>
              </a:spcBef>
            </a:pPr>
            <a:r>
              <a:rPr lang="en-US" sz="2000" b="1" dirty="0">
                <a:solidFill>
                  <a:schemeClr val="tx1"/>
                </a:solidFill>
              </a:rPr>
              <a:t>Trend Archive (offline values)</a:t>
            </a:r>
          </a:p>
          <a:p>
            <a:pPr marL="342900" lvl="1" indent="-342900" algn="l">
              <a:lnSpc>
                <a:spcPct val="110000"/>
              </a:lnSpc>
              <a:spcBef>
                <a:spcPts val="0"/>
              </a:spcBef>
              <a:spcAft>
                <a:spcPts val="600"/>
              </a:spcAft>
              <a:buFont typeface="Wingdings" panose="05000000000000000000" pitchFamily="2" charset="2"/>
              <a:buChar char="§"/>
            </a:pPr>
            <a:r>
              <a:rPr lang="en-US" sz="2000" dirty="0">
                <a:solidFill>
                  <a:schemeClr val="tx1"/>
                </a:solidFill>
              </a:rPr>
              <a:t>is to observe and troubleshoot certain values over a longer time of period.</a:t>
            </a:r>
          </a:p>
          <a:p>
            <a:pPr marL="342900" lvl="1" indent="-342900" algn="l">
              <a:lnSpc>
                <a:spcPct val="110000"/>
              </a:lnSpc>
              <a:spcBef>
                <a:spcPts val="0"/>
              </a:spcBef>
              <a:spcAft>
                <a:spcPts val="600"/>
              </a:spcAft>
              <a:buFont typeface="Wingdings" panose="05000000000000000000" pitchFamily="2" charset="2"/>
              <a:buChar char="§"/>
            </a:pPr>
            <a:r>
              <a:rPr lang="en-US" sz="2000" dirty="0">
                <a:solidFill>
                  <a:schemeClr val="tx1"/>
                </a:solidFill>
              </a:rPr>
              <a:t>It is key to optimize memory usage by setting appropriate data record frequency - </a:t>
            </a:r>
            <a:r>
              <a:rPr lang="en-US" sz="2000" b="1" dirty="0">
                <a:solidFill>
                  <a:schemeClr val="tx1"/>
                </a:solidFill>
              </a:rPr>
              <a:t>fix time cycle </a:t>
            </a:r>
            <a:r>
              <a:rPr lang="en-US" sz="2000" dirty="0">
                <a:solidFill>
                  <a:schemeClr val="tx1"/>
                </a:solidFill>
              </a:rPr>
              <a:t>or </a:t>
            </a:r>
            <a:r>
              <a:rPr lang="en-US" sz="2000" b="1" dirty="0">
                <a:solidFill>
                  <a:schemeClr val="tx1"/>
                </a:solidFill>
              </a:rPr>
              <a:t>change of value </a:t>
            </a:r>
            <a:r>
              <a:rPr lang="en-US" sz="2000" dirty="0">
                <a:solidFill>
                  <a:schemeClr val="tx1"/>
                </a:solidFill>
              </a:rPr>
              <a:t>(COV)  </a:t>
            </a:r>
          </a:p>
          <a:p>
            <a:pPr marL="457200" lvl="2" algn="l">
              <a:lnSpc>
                <a:spcPct val="110000"/>
              </a:lnSpc>
              <a:spcBef>
                <a:spcPts val="0"/>
              </a:spcBef>
              <a:spcAft>
                <a:spcPts val="600"/>
              </a:spcAft>
            </a:pPr>
            <a:endParaRPr lang="en-US" sz="2000" dirty="0">
              <a:solidFill>
                <a:schemeClr val="tx1"/>
              </a:solidFill>
            </a:endParaRPr>
          </a:p>
        </p:txBody>
      </p:sp>
    </p:spTree>
    <p:extLst>
      <p:ext uri="{BB962C8B-B14F-4D97-AF65-F5344CB8AC3E}">
        <p14:creationId xmlns:p14="http://schemas.microsoft.com/office/powerpoint/2010/main" val="281253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4" end="4"/>
                                            </p:txEl>
                                          </p:spTgt>
                                        </p:tgtEl>
                                        <p:attrNameLst>
                                          <p:attrName>style.visibility</p:attrName>
                                        </p:attrNameLst>
                                      </p:cBhvr>
                                      <p:to>
                                        <p:strVal val="visible"/>
                                      </p:to>
                                    </p:set>
                                    <p:animEffect transition="in" filter="fade">
                                      <p:cBhvr>
                                        <p:cTn id="7" dur="500"/>
                                        <p:tgtEl>
                                          <p:spTgt spid="7">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8" end="8"/>
                                            </p:txEl>
                                          </p:spTgt>
                                        </p:tgtEl>
                                        <p:attrNameLst>
                                          <p:attrName>style.visibility</p:attrName>
                                        </p:attrNameLst>
                                      </p:cBhvr>
                                      <p:to>
                                        <p:strVal val="visible"/>
                                      </p:to>
                                    </p:set>
                                    <p:animEffect transition="in" filter="fade">
                                      <p:cBhvr>
                                        <p:cTn id="10" dur="500"/>
                                        <p:tgtEl>
                                          <p:spTgt spid="7">
                                            <p:txEl>
                                              <p:pRg st="8" end="8"/>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xEl>
                                              <p:pRg st="5" end="5"/>
                                            </p:txEl>
                                          </p:spTgt>
                                        </p:tgtEl>
                                        <p:attrNameLst>
                                          <p:attrName>style.visibility</p:attrName>
                                        </p:attrNameLst>
                                      </p:cBhvr>
                                      <p:to>
                                        <p:strVal val="visible"/>
                                      </p:to>
                                    </p:set>
                                    <p:animEffect transition="in" filter="fade">
                                      <p:cBhvr>
                                        <p:cTn id="15" dur="500"/>
                                        <p:tgtEl>
                                          <p:spTgt spid="7">
                                            <p:txEl>
                                              <p:pRg st="5" end="5"/>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7">
                                            <p:txEl>
                                              <p:pRg st="6" end="6"/>
                                            </p:txEl>
                                          </p:spTgt>
                                        </p:tgtEl>
                                        <p:attrNameLst>
                                          <p:attrName>style.visibility</p:attrName>
                                        </p:attrNameLst>
                                      </p:cBhvr>
                                      <p:to>
                                        <p:strVal val="visible"/>
                                      </p:to>
                                    </p:set>
                                    <p:animEffect transition="in" filter="fade">
                                      <p:cBhvr>
                                        <p:cTn id="18" dur="500"/>
                                        <p:tgtEl>
                                          <p:spTgt spid="7">
                                            <p:txEl>
                                              <p:pRg st="6" end="6"/>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7">
                                            <p:txEl>
                                              <p:pRg st="9" end="9"/>
                                            </p:txEl>
                                          </p:spTgt>
                                        </p:tgtEl>
                                        <p:attrNameLst>
                                          <p:attrName>style.visibility</p:attrName>
                                        </p:attrNameLst>
                                      </p:cBhvr>
                                      <p:to>
                                        <p:strVal val="visible"/>
                                      </p:to>
                                    </p:set>
                                    <p:animEffect transition="in" filter="fade">
                                      <p:cBhvr>
                                        <p:cTn id="23" dur="500"/>
                                        <p:tgtEl>
                                          <p:spTgt spid="7">
                                            <p:txEl>
                                              <p:pRg st="9" end="9"/>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7">
                                            <p:txEl>
                                              <p:pRg st="10" end="10"/>
                                            </p:txEl>
                                          </p:spTgt>
                                        </p:tgtEl>
                                        <p:attrNameLst>
                                          <p:attrName>style.visibility</p:attrName>
                                        </p:attrNameLst>
                                      </p:cBhvr>
                                      <p:to>
                                        <p:strVal val="visible"/>
                                      </p:to>
                                    </p:set>
                                    <p:animEffect transition="in" filter="fade">
                                      <p:cBhvr>
                                        <p:cTn id="26" dur="500"/>
                                        <p:tgtEl>
                                          <p:spTgt spid="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dtText Box 4 Id114692">
            <a:extLst>
              <a:ext uri="{FF2B5EF4-FFF2-40B4-BE49-F238E27FC236}">
                <a16:creationId xmlns:a16="http://schemas.microsoft.com/office/drawing/2014/main" id="{A9D7DEF1-983A-4481-8ADB-8E5C8BE63BDF}"/>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a:solidFill>
                  <a:schemeClr val="bg1"/>
                </a:solidFill>
              </a:rPr>
              <a:t>Trending and Archiving </a:t>
            </a:r>
            <a:r>
              <a:rPr lang="en-US" sz="1600" err="1">
                <a:solidFill>
                  <a:schemeClr val="bg1"/>
                </a:solidFill>
              </a:rPr>
              <a:t>Archiving</a:t>
            </a:r>
            <a:r>
              <a:rPr lang="en-US" sz="1600">
                <a:solidFill>
                  <a:schemeClr val="bg1"/>
                </a:solidFill>
              </a:rPr>
              <a:t> - principle </a:t>
            </a:r>
          </a:p>
        </p:txBody>
      </p:sp>
      <p:cxnSp>
        <p:nvCxnSpPr>
          <p:cNvPr id="29" name="Straight Connector 28">
            <a:extLst>
              <a:ext uri="{FF2B5EF4-FFF2-40B4-BE49-F238E27FC236}">
                <a16:creationId xmlns:a16="http://schemas.microsoft.com/office/drawing/2014/main" id="{A5E2F7F8-77AE-455A-AC8E-9C7A331CDEFE}"/>
              </a:ext>
            </a:extLst>
          </p:cNvPr>
          <p:cNvCxnSpPr/>
          <p:nvPr/>
        </p:nvCxnSpPr>
        <p:spPr bwMode="auto">
          <a:xfrm flipH="1">
            <a:off x="2163387" y="-531440"/>
            <a:ext cx="64060" cy="7384524"/>
          </a:xfrm>
          <a:prstGeom prst="line">
            <a:avLst/>
          </a:prstGeom>
          <a:solidFill>
            <a:schemeClr val="tx2"/>
          </a:solidFill>
          <a:ln w="381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5" name="cdtText Box 4 Id114692">
            <a:extLst>
              <a:ext uri="{FF2B5EF4-FFF2-40B4-BE49-F238E27FC236}">
                <a16:creationId xmlns:a16="http://schemas.microsoft.com/office/drawing/2014/main" id="{BA49EE46-AD2E-4E35-BD5D-94D54EC1FE12}"/>
              </a:ext>
            </a:extLst>
          </p:cNvPr>
          <p:cNvSpPr txBox="1">
            <a:spLocks noChangeArrowheads="1"/>
          </p:cNvSpPr>
          <p:nvPr/>
        </p:nvSpPr>
        <p:spPr bwMode="gray">
          <a:xfrm>
            <a:off x="2159999" y="0"/>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a:solidFill>
                  <a:schemeClr val="bg1"/>
                </a:solidFill>
              </a:rPr>
              <a:t>Programming basics</a:t>
            </a:r>
          </a:p>
        </p:txBody>
      </p:sp>
      <p:sp>
        <p:nvSpPr>
          <p:cNvPr id="96" name="cdtText Box 4 Id114692">
            <a:extLst>
              <a:ext uri="{FF2B5EF4-FFF2-40B4-BE49-F238E27FC236}">
                <a16:creationId xmlns:a16="http://schemas.microsoft.com/office/drawing/2014/main" id="{F58902F7-74F5-40D2-95E0-489AE3763F2D}"/>
              </a:ext>
            </a:extLst>
          </p:cNvPr>
          <p:cNvSpPr txBox="1">
            <a:spLocks noChangeArrowheads="1"/>
          </p:cNvSpPr>
          <p:nvPr/>
        </p:nvSpPr>
        <p:spPr bwMode="gray">
          <a:xfrm>
            <a:off x="2159998"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a:solidFill>
                  <a:schemeClr val="bg1"/>
                </a:solidFill>
              </a:rPr>
              <a:t>Trend archive settings</a:t>
            </a:r>
          </a:p>
        </p:txBody>
      </p:sp>
      <p:sp>
        <p:nvSpPr>
          <p:cNvPr id="7" name="TextBox 6">
            <a:extLst>
              <a:ext uri="{FF2B5EF4-FFF2-40B4-BE49-F238E27FC236}">
                <a16:creationId xmlns:a16="http://schemas.microsoft.com/office/drawing/2014/main" id="{ACAB2C52-5885-4E21-B99C-8FB0774DE9B6}"/>
              </a:ext>
            </a:extLst>
          </p:cNvPr>
          <p:cNvSpPr txBox="1"/>
          <p:nvPr/>
        </p:nvSpPr>
        <p:spPr>
          <a:xfrm>
            <a:off x="2352975" y="645827"/>
            <a:ext cx="9286127" cy="4713534"/>
          </a:xfrm>
          <a:prstGeom prst="rect">
            <a:avLst/>
          </a:prstGeom>
          <a:noFill/>
        </p:spPr>
        <p:txBody>
          <a:bodyPr wrap="square" lIns="0" tIns="0" rIns="0" bIns="0" rtlCol="0">
            <a:spAutoFit/>
          </a:bodyPr>
          <a:lstStyle/>
          <a:p>
            <a:pPr algn="l">
              <a:lnSpc>
                <a:spcPct val="110000"/>
              </a:lnSpc>
              <a:spcBef>
                <a:spcPts val="0"/>
              </a:spcBef>
            </a:pPr>
            <a:r>
              <a:rPr lang="en-US" sz="2000" dirty="0">
                <a:solidFill>
                  <a:schemeClr val="tx1"/>
                </a:solidFill>
              </a:rPr>
              <a:t>Data log frequency setting</a:t>
            </a:r>
          </a:p>
          <a:p>
            <a:pPr algn="l">
              <a:lnSpc>
                <a:spcPct val="110000"/>
              </a:lnSpc>
              <a:spcBef>
                <a:spcPts val="0"/>
              </a:spcBef>
            </a:pPr>
            <a:endParaRPr lang="en-US" sz="2000" b="1" dirty="0">
              <a:solidFill>
                <a:schemeClr val="tx1"/>
              </a:solidFill>
            </a:endParaRPr>
          </a:p>
          <a:p>
            <a:pPr algn="l">
              <a:lnSpc>
                <a:spcPct val="110000"/>
              </a:lnSpc>
              <a:spcBef>
                <a:spcPts val="0"/>
              </a:spcBef>
            </a:pPr>
            <a:r>
              <a:rPr lang="en-US" sz="2000" b="1" dirty="0" err="1">
                <a:solidFill>
                  <a:schemeClr val="tx1"/>
                </a:solidFill>
              </a:rPr>
              <a:t>Cov</a:t>
            </a:r>
            <a:r>
              <a:rPr lang="en-US" sz="2000" dirty="0">
                <a:solidFill>
                  <a:schemeClr val="tx1"/>
                </a:solidFill>
              </a:rPr>
              <a:t> (</a:t>
            </a:r>
            <a:r>
              <a:rPr lang="en-US" sz="2000" b="1" dirty="0">
                <a:solidFill>
                  <a:schemeClr val="tx1"/>
                </a:solidFill>
              </a:rPr>
              <a:t>C</a:t>
            </a:r>
            <a:r>
              <a:rPr lang="en-US" sz="2000" dirty="0">
                <a:solidFill>
                  <a:schemeClr val="tx1"/>
                </a:solidFill>
              </a:rPr>
              <a:t>hange </a:t>
            </a:r>
            <a:r>
              <a:rPr lang="en-US" sz="2000" b="1" dirty="0">
                <a:solidFill>
                  <a:schemeClr val="tx1"/>
                </a:solidFill>
              </a:rPr>
              <a:t>o</a:t>
            </a:r>
            <a:r>
              <a:rPr lang="en-US" sz="2000" dirty="0">
                <a:solidFill>
                  <a:schemeClr val="tx1"/>
                </a:solidFill>
              </a:rPr>
              <a:t>f </a:t>
            </a:r>
            <a:r>
              <a:rPr lang="en-US" sz="2000" b="1" dirty="0">
                <a:solidFill>
                  <a:schemeClr val="tx1"/>
                </a:solidFill>
              </a:rPr>
              <a:t>v</a:t>
            </a:r>
            <a:r>
              <a:rPr lang="en-US" sz="2000" dirty="0">
                <a:solidFill>
                  <a:schemeClr val="tx1"/>
                </a:solidFill>
              </a:rPr>
              <a:t>alue) </a:t>
            </a:r>
            <a:r>
              <a:rPr lang="en-US" sz="2000" dirty="0">
                <a:solidFill>
                  <a:schemeClr val="tx1"/>
                </a:solidFill>
                <a:sym typeface="Wingdings" panose="05000000000000000000" pitchFamily="2" charset="2"/>
              </a:rPr>
              <a:t> recommended</a:t>
            </a:r>
            <a:endParaRPr lang="en-US" sz="2000" dirty="0">
              <a:solidFill>
                <a:schemeClr val="tx1"/>
              </a:solidFill>
            </a:endParaRPr>
          </a:p>
          <a:p>
            <a:pPr marL="609600" lvl="1" indent="-342900" algn="l">
              <a:lnSpc>
                <a:spcPct val="110000"/>
              </a:lnSpc>
              <a:spcBef>
                <a:spcPts val="0"/>
              </a:spcBef>
              <a:buFont typeface="Wingdings" panose="05000000000000000000" pitchFamily="2" charset="2"/>
              <a:buChar char="§"/>
            </a:pPr>
            <a:r>
              <a:rPr lang="en-US" sz="2000" dirty="0">
                <a:solidFill>
                  <a:schemeClr val="tx1"/>
                </a:solidFill>
              </a:rPr>
              <a:t>Data is logged whenever </a:t>
            </a:r>
            <a:r>
              <a:rPr lang="en-US" sz="2000" b="1" dirty="0">
                <a:solidFill>
                  <a:schemeClr val="tx1"/>
                </a:solidFill>
              </a:rPr>
              <a:t>the change is bigger than a defined threshold</a:t>
            </a:r>
          </a:p>
          <a:p>
            <a:pPr marL="609600" lvl="1" indent="-342900" algn="l">
              <a:lnSpc>
                <a:spcPct val="110000"/>
              </a:lnSpc>
              <a:spcBef>
                <a:spcPts val="0"/>
              </a:spcBef>
              <a:buFont typeface="Wingdings" panose="05000000000000000000" pitchFamily="2" charset="2"/>
              <a:buChar char="§"/>
            </a:pPr>
            <a:r>
              <a:rPr lang="en-US" sz="2000" dirty="0">
                <a:solidFill>
                  <a:schemeClr val="tx1"/>
                </a:solidFill>
              </a:rPr>
              <a:t>Properly setting the threshold allows important change of values being recorded, and no log is made when it is unnecessary (no change of value)</a:t>
            </a:r>
          </a:p>
          <a:p>
            <a:pPr marL="609600" lvl="1" indent="-342900" algn="l">
              <a:lnSpc>
                <a:spcPct val="110000"/>
              </a:lnSpc>
              <a:spcBef>
                <a:spcPts val="0"/>
              </a:spcBef>
              <a:buFont typeface="Wingdings" panose="05000000000000000000" pitchFamily="2" charset="2"/>
              <a:buChar char="§"/>
            </a:pPr>
            <a:r>
              <a:rPr lang="en-US" sz="2000" dirty="0">
                <a:solidFill>
                  <a:schemeClr val="tx1"/>
                </a:solidFill>
              </a:rPr>
              <a:t>Example: Threshold - Supply temperature 0.5° cooling valve 5%</a:t>
            </a:r>
          </a:p>
          <a:p>
            <a:pPr algn="l">
              <a:lnSpc>
                <a:spcPct val="110000"/>
              </a:lnSpc>
              <a:spcBef>
                <a:spcPts val="0"/>
              </a:spcBef>
            </a:pPr>
            <a:br>
              <a:rPr lang="en-US" sz="2000" b="1" dirty="0">
                <a:solidFill>
                  <a:schemeClr val="tx1"/>
                </a:solidFill>
              </a:rPr>
            </a:br>
            <a:r>
              <a:rPr lang="en-US" sz="2000" b="1" dirty="0">
                <a:solidFill>
                  <a:schemeClr val="tx1"/>
                </a:solidFill>
              </a:rPr>
              <a:t>Cycle </a:t>
            </a:r>
          </a:p>
          <a:p>
            <a:pPr marL="609600" lvl="1" indent="-342900" algn="l">
              <a:lnSpc>
                <a:spcPct val="110000"/>
              </a:lnSpc>
              <a:spcBef>
                <a:spcPts val="0"/>
              </a:spcBef>
              <a:buFont typeface="Wingdings" panose="05000000000000000000" pitchFamily="2" charset="2"/>
              <a:buChar char="§"/>
            </a:pPr>
            <a:r>
              <a:rPr lang="en-US" sz="2000" dirty="0">
                <a:solidFill>
                  <a:schemeClr val="tx1"/>
                </a:solidFill>
              </a:rPr>
              <a:t>Data is logged based on </a:t>
            </a:r>
            <a:r>
              <a:rPr lang="en-US" sz="2000" b="1" dirty="0">
                <a:solidFill>
                  <a:schemeClr val="tx1"/>
                </a:solidFill>
              </a:rPr>
              <a:t>fixed time step</a:t>
            </a:r>
          </a:p>
          <a:p>
            <a:pPr marL="609600" lvl="1" indent="-342900" algn="l">
              <a:lnSpc>
                <a:spcPct val="110000"/>
              </a:lnSpc>
              <a:spcBef>
                <a:spcPts val="0"/>
              </a:spcBef>
              <a:buFont typeface="Wingdings" panose="05000000000000000000" pitchFamily="2" charset="2"/>
              <a:buChar char="§"/>
            </a:pPr>
            <a:r>
              <a:rPr lang="en-US" sz="2000" dirty="0">
                <a:solidFill>
                  <a:schemeClr val="tx1"/>
                </a:solidFill>
              </a:rPr>
              <a:t>It is easy to predict how many data will be logged for a certain time of period. Some value changes might be missed while having fixed time steps.</a:t>
            </a:r>
          </a:p>
          <a:p>
            <a:pPr marL="609600" lvl="1" indent="-342900" algn="l">
              <a:lnSpc>
                <a:spcPct val="110000"/>
              </a:lnSpc>
              <a:spcBef>
                <a:spcPts val="0"/>
              </a:spcBef>
              <a:buFont typeface="Wingdings" panose="05000000000000000000" pitchFamily="2" charset="2"/>
              <a:buChar char="§"/>
            </a:pPr>
            <a:r>
              <a:rPr lang="en-US" sz="2000" dirty="0">
                <a:solidFill>
                  <a:schemeClr val="tx1"/>
                </a:solidFill>
              </a:rPr>
              <a:t>Example: Outside temperature every 15 min.</a:t>
            </a:r>
          </a:p>
          <a:p>
            <a:pPr algn="l">
              <a:lnSpc>
                <a:spcPct val="110000"/>
              </a:lnSpc>
              <a:spcBef>
                <a:spcPts val="0"/>
              </a:spcBef>
            </a:pPr>
            <a:endParaRPr lang="en-US" sz="2000" dirty="0">
              <a:solidFill>
                <a:schemeClr val="tx1"/>
              </a:solidFill>
            </a:endParaRPr>
          </a:p>
        </p:txBody>
      </p:sp>
      <p:sp>
        <p:nvSpPr>
          <p:cNvPr id="9" name="Textfeld 337">
            <a:extLst>
              <a:ext uri="{FF2B5EF4-FFF2-40B4-BE49-F238E27FC236}">
                <a16:creationId xmlns:a16="http://schemas.microsoft.com/office/drawing/2014/main" id="{CA115354-9DE0-4725-A82B-2EB6C0E0DE92}"/>
              </a:ext>
            </a:extLst>
          </p:cNvPr>
          <p:cNvSpPr txBox="1"/>
          <p:nvPr/>
        </p:nvSpPr>
        <p:spPr>
          <a:xfrm>
            <a:off x="-1" y="4413970"/>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Trend logging / Archive</a:t>
            </a:r>
            <a:endParaRPr lang="en-US" sz="1100" b="0" u="none" strike="noStrike" kern="1200" dirty="0">
              <a:effectLst/>
              <a:latin typeface="+mj-lt"/>
              <a:ea typeface="+mn-ea"/>
            </a:endParaRPr>
          </a:p>
        </p:txBody>
      </p:sp>
    </p:spTree>
    <p:extLst>
      <p:ext uri="{BB962C8B-B14F-4D97-AF65-F5344CB8AC3E}">
        <p14:creationId xmlns:p14="http://schemas.microsoft.com/office/powerpoint/2010/main" val="2951595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6" end="6"/>
                                            </p:txEl>
                                          </p:spTgt>
                                        </p:tgtEl>
                                        <p:attrNameLst>
                                          <p:attrName>style.visibility</p:attrName>
                                        </p:attrNameLst>
                                      </p:cBhvr>
                                      <p:to>
                                        <p:strVal val="visible"/>
                                      </p:to>
                                    </p:set>
                                    <p:animEffect transition="in" filter="fade">
                                      <p:cBhvr>
                                        <p:cTn id="7" dur="500"/>
                                        <p:tgtEl>
                                          <p:spTgt spid="7">
                                            <p:txEl>
                                              <p:pRg st="6" end="6"/>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7" end="7"/>
                                            </p:txEl>
                                          </p:spTgt>
                                        </p:tgtEl>
                                        <p:attrNameLst>
                                          <p:attrName>style.visibility</p:attrName>
                                        </p:attrNameLst>
                                      </p:cBhvr>
                                      <p:to>
                                        <p:strVal val="visible"/>
                                      </p:to>
                                    </p:set>
                                    <p:animEffect transition="in" filter="fade">
                                      <p:cBhvr>
                                        <p:cTn id="10" dur="500"/>
                                        <p:tgtEl>
                                          <p:spTgt spid="7">
                                            <p:txEl>
                                              <p:pRg st="7" end="7"/>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8" end="8"/>
                                            </p:txEl>
                                          </p:spTgt>
                                        </p:tgtEl>
                                        <p:attrNameLst>
                                          <p:attrName>style.visibility</p:attrName>
                                        </p:attrNameLst>
                                      </p:cBhvr>
                                      <p:to>
                                        <p:strVal val="visible"/>
                                      </p:to>
                                    </p:set>
                                    <p:animEffect transition="in" filter="fade">
                                      <p:cBhvr>
                                        <p:cTn id="13" dur="500"/>
                                        <p:tgtEl>
                                          <p:spTgt spid="7">
                                            <p:txEl>
                                              <p:pRg st="8" end="8"/>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9" end="9"/>
                                            </p:txEl>
                                          </p:spTgt>
                                        </p:tgtEl>
                                        <p:attrNameLst>
                                          <p:attrName>style.visibility</p:attrName>
                                        </p:attrNameLst>
                                      </p:cBhvr>
                                      <p:to>
                                        <p:strVal val="visible"/>
                                      </p:to>
                                    </p:set>
                                    <p:animEffect transition="in" filter="fade">
                                      <p:cBhvr>
                                        <p:cTn id="16"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dtText Box 4 Id114692">
            <a:extLst>
              <a:ext uri="{FF2B5EF4-FFF2-40B4-BE49-F238E27FC236}">
                <a16:creationId xmlns:a16="http://schemas.microsoft.com/office/drawing/2014/main" id="{2714153C-2224-4138-AB37-41749B14D4D8}"/>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Data storage capacity for archive</a:t>
            </a:r>
          </a:p>
        </p:txBody>
      </p:sp>
      <p:sp>
        <p:nvSpPr>
          <p:cNvPr id="9" name="TextBox 6">
            <a:extLst>
              <a:ext uri="{FF2B5EF4-FFF2-40B4-BE49-F238E27FC236}">
                <a16:creationId xmlns:a16="http://schemas.microsoft.com/office/drawing/2014/main" id="{DD62A5EB-23BE-436B-8C12-F071E0032732}"/>
              </a:ext>
            </a:extLst>
          </p:cNvPr>
          <p:cNvSpPr txBox="1"/>
          <p:nvPr/>
        </p:nvSpPr>
        <p:spPr>
          <a:xfrm>
            <a:off x="2285185" y="674982"/>
            <a:ext cx="9784802" cy="2995179"/>
          </a:xfrm>
          <a:prstGeom prst="rect">
            <a:avLst/>
          </a:prstGeom>
          <a:noFill/>
        </p:spPr>
        <p:txBody>
          <a:bodyPr wrap="square" lIns="0" tIns="0" rIns="0" bIns="0" rtlCol="0">
            <a:spAutoFit/>
          </a:bodyPr>
          <a:lstStyle/>
          <a:p>
            <a:pPr algn="l">
              <a:lnSpc>
                <a:spcPct val="110000"/>
              </a:lnSpc>
              <a:spcBef>
                <a:spcPts val="0"/>
              </a:spcBef>
            </a:pPr>
            <a:r>
              <a:rPr lang="en-US" sz="1600" dirty="0">
                <a:solidFill>
                  <a:schemeClr val="tx1"/>
                </a:solidFill>
              </a:rPr>
              <a:t>Data storage in controller (internal memory)</a:t>
            </a:r>
          </a:p>
          <a:p>
            <a:pPr marL="342900" lvl="1" indent="-342900" algn="l">
              <a:lnSpc>
                <a:spcPct val="110000"/>
              </a:lnSpc>
              <a:spcBef>
                <a:spcPts val="0"/>
              </a:spcBef>
              <a:spcAft>
                <a:spcPts val="600"/>
              </a:spcAft>
              <a:buFont typeface="Wingdings" panose="05000000000000000000" pitchFamily="2" charset="2"/>
              <a:buChar char="§"/>
            </a:pPr>
            <a:r>
              <a:rPr lang="en-US" sz="1600" dirty="0">
                <a:solidFill>
                  <a:schemeClr val="tx1"/>
                </a:solidFill>
              </a:rPr>
              <a:t>up to </a:t>
            </a:r>
            <a:r>
              <a:rPr lang="en-US" sz="1600" dirty="0">
                <a:solidFill>
                  <a:schemeClr val="tx1"/>
                </a:solidFill>
                <a:highlight>
                  <a:srgbClr val="90EEF8"/>
                </a:highlight>
              </a:rPr>
              <a:t>140’000 values </a:t>
            </a:r>
          </a:p>
          <a:p>
            <a:pPr marL="342900" lvl="1" indent="-342900" algn="l">
              <a:lnSpc>
                <a:spcPct val="110000"/>
              </a:lnSpc>
              <a:spcBef>
                <a:spcPts val="0"/>
              </a:spcBef>
              <a:spcAft>
                <a:spcPts val="600"/>
              </a:spcAft>
              <a:buFont typeface="Wingdings" panose="05000000000000000000" pitchFamily="2" charset="2"/>
              <a:buChar char="§"/>
            </a:pPr>
            <a:r>
              <a:rPr lang="en-US" sz="1600" dirty="0">
                <a:solidFill>
                  <a:schemeClr val="tx1"/>
                </a:solidFill>
              </a:rPr>
              <a:t>up to 64 data points (In that case, archive’s depth will be reduced to 2’200 writes per data point) per controller</a:t>
            </a:r>
          </a:p>
          <a:p>
            <a:pPr marL="342900" lvl="1" indent="-342900" algn="l">
              <a:lnSpc>
                <a:spcPct val="110000"/>
              </a:lnSpc>
              <a:spcBef>
                <a:spcPts val="0"/>
              </a:spcBef>
              <a:spcAft>
                <a:spcPts val="600"/>
              </a:spcAft>
              <a:buFont typeface="Wingdings" panose="05000000000000000000" pitchFamily="2" charset="2"/>
              <a:buChar char="§"/>
            </a:pPr>
            <a:r>
              <a:rPr lang="en-US" sz="1600" dirty="0">
                <a:solidFill>
                  <a:schemeClr val="tx1"/>
                </a:solidFill>
              </a:rPr>
              <a:t>Example with </a:t>
            </a:r>
            <a:r>
              <a:rPr lang="en-US" sz="1600" dirty="0">
                <a:solidFill>
                  <a:schemeClr val="tx1"/>
                </a:solidFill>
                <a:highlight>
                  <a:srgbClr val="E3EDCD"/>
                </a:highlight>
              </a:rPr>
              <a:t>4 datapoint </a:t>
            </a:r>
            <a:r>
              <a:rPr lang="en-US" sz="1600" dirty="0">
                <a:solidFill>
                  <a:schemeClr val="tx1"/>
                </a:solidFill>
              </a:rPr>
              <a:t>and fix time step – storing data </a:t>
            </a:r>
            <a:r>
              <a:rPr lang="en-US" sz="1600" dirty="0">
                <a:solidFill>
                  <a:schemeClr val="tx1"/>
                </a:solidFill>
                <a:highlight>
                  <a:srgbClr val="CED8E0"/>
                </a:highlight>
              </a:rPr>
              <a:t>each minute </a:t>
            </a:r>
            <a:r>
              <a:rPr lang="en-US" sz="1600" dirty="0">
                <a:solidFill>
                  <a:schemeClr val="tx1"/>
                </a:solidFill>
              </a:rPr>
              <a:t>(60 times per minute) </a:t>
            </a:r>
            <a:br>
              <a:rPr lang="en-US" sz="1600" dirty="0">
                <a:solidFill>
                  <a:schemeClr val="tx1"/>
                </a:solidFill>
              </a:rPr>
            </a:br>
            <a:r>
              <a:rPr lang="en-US" sz="1600" dirty="0">
                <a:solidFill>
                  <a:schemeClr val="tx1"/>
                </a:solidFill>
                <a:highlight>
                  <a:srgbClr val="90EEF8"/>
                </a:highlight>
              </a:rPr>
              <a:t>140’000</a:t>
            </a:r>
            <a:r>
              <a:rPr lang="en-US" sz="1600" dirty="0">
                <a:solidFill>
                  <a:schemeClr val="tx1"/>
                </a:solidFill>
              </a:rPr>
              <a:t> / </a:t>
            </a:r>
            <a:r>
              <a:rPr lang="en-US" sz="1600" dirty="0">
                <a:solidFill>
                  <a:schemeClr val="tx1"/>
                </a:solidFill>
                <a:highlight>
                  <a:srgbClr val="E3EDCD"/>
                </a:highlight>
              </a:rPr>
              <a:t>4</a:t>
            </a:r>
            <a:r>
              <a:rPr lang="en-US" sz="1600" dirty="0">
                <a:solidFill>
                  <a:schemeClr val="tx1"/>
                </a:solidFill>
              </a:rPr>
              <a:t> = 35000 / </a:t>
            </a:r>
            <a:r>
              <a:rPr lang="en-US" sz="1600" dirty="0">
                <a:solidFill>
                  <a:schemeClr val="tx1"/>
                </a:solidFill>
                <a:highlight>
                  <a:srgbClr val="CED8E0"/>
                </a:highlight>
              </a:rPr>
              <a:t>60</a:t>
            </a:r>
            <a:r>
              <a:rPr lang="en-US" sz="1600" dirty="0">
                <a:solidFill>
                  <a:schemeClr val="tx1"/>
                </a:solidFill>
              </a:rPr>
              <a:t> = 583 h / 24 =24 days</a:t>
            </a:r>
          </a:p>
          <a:p>
            <a:pPr marL="342900" lvl="1" indent="-342900" algn="l">
              <a:lnSpc>
                <a:spcPct val="110000"/>
              </a:lnSpc>
              <a:spcBef>
                <a:spcPts val="0"/>
              </a:spcBef>
              <a:spcAft>
                <a:spcPts val="600"/>
              </a:spcAft>
              <a:buFont typeface="Wingdings" panose="05000000000000000000" pitchFamily="2" charset="2"/>
              <a:buChar char="§"/>
            </a:pPr>
            <a:r>
              <a:rPr lang="en-US" sz="1600" dirty="0">
                <a:solidFill>
                  <a:schemeClr val="tx1"/>
                </a:solidFill>
              </a:rPr>
              <a:t>After 24 days with regards to the example the buffer settings comes into account</a:t>
            </a:r>
          </a:p>
          <a:p>
            <a:pPr marL="625475" lvl="1" indent="-252413" algn="l">
              <a:lnSpc>
                <a:spcPct val="110000"/>
              </a:lnSpc>
              <a:spcBef>
                <a:spcPts val="0"/>
              </a:spcBef>
              <a:buFont typeface="Wingdings" panose="05000000000000000000" pitchFamily="2" charset="2"/>
              <a:buChar char="§"/>
            </a:pPr>
            <a:r>
              <a:rPr lang="en-US" sz="1600" b="1" dirty="0">
                <a:solidFill>
                  <a:schemeClr val="tx1"/>
                </a:solidFill>
              </a:rPr>
              <a:t>Ring Buffer</a:t>
            </a:r>
            <a:r>
              <a:rPr lang="en-US" sz="1600" dirty="0">
                <a:solidFill>
                  <a:schemeClr val="tx1"/>
                </a:solidFill>
              </a:rPr>
              <a:t>: when the memory is full, the oldest data starts to get erased, so that new data will have place to be stored.</a:t>
            </a:r>
          </a:p>
          <a:p>
            <a:pPr marL="625475" lvl="1" indent="-252413" algn="l">
              <a:lnSpc>
                <a:spcPct val="110000"/>
              </a:lnSpc>
              <a:spcBef>
                <a:spcPts val="0"/>
              </a:spcBef>
              <a:buFont typeface="Wingdings" panose="05000000000000000000" pitchFamily="2" charset="2"/>
              <a:buChar char="§"/>
            </a:pPr>
            <a:r>
              <a:rPr lang="en-US" sz="1600" b="1" dirty="0">
                <a:solidFill>
                  <a:schemeClr val="tx1"/>
                </a:solidFill>
              </a:rPr>
              <a:t>Stop When Full</a:t>
            </a:r>
            <a:r>
              <a:rPr lang="en-US" sz="1600" dirty="0">
                <a:solidFill>
                  <a:schemeClr val="tx1"/>
                </a:solidFill>
              </a:rPr>
              <a:t>: when the memory is full, no new data will be logged anymore</a:t>
            </a:r>
          </a:p>
        </p:txBody>
      </p:sp>
      <p:sp>
        <p:nvSpPr>
          <p:cNvPr id="20" name="TextBox 6">
            <a:extLst>
              <a:ext uri="{FF2B5EF4-FFF2-40B4-BE49-F238E27FC236}">
                <a16:creationId xmlns:a16="http://schemas.microsoft.com/office/drawing/2014/main" id="{283B7DF6-F14F-487E-A71A-5CFBB31832CE}"/>
              </a:ext>
            </a:extLst>
          </p:cNvPr>
          <p:cNvSpPr txBox="1"/>
          <p:nvPr/>
        </p:nvSpPr>
        <p:spPr>
          <a:xfrm>
            <a:off x="2285185" y="3876059"/>
            <a:ext cx="9784802" cy="1139286"/>
          </a:xfrm>
          <a:prstGeom prst="rect">
            <a:avLst/>
          </a:prstGeom>
          <a:noFill/>
        </p:spPr>
        <p:txBody>
          <a:bodyPr wrap="square" lIns="0" tIns="0" rIns="0" bIns="0" rtlCol="0">
            <a:spAutoFit/>
          </a:bodyPr>
          <a:lstStyle/>
          <a:p>
            <a:pPr algn="l">
              <a:lnSpc>
                <a:spcPct val="110000"/>
              </a:lnSpc>
              <a:spcBef>
                <a:spcPts val="0"/>
              </a:spcBef>
            </a:pPr>
            <a:r>
              <a:rPr lang="en-US" sz="1600" dirty="0">
                <a:solidFill>
                  <a:schemeClr val="tx1"/>
                </a:solidFill>
              </a:rPr>
              <a:t>Data storage in SD card (external memory)</a:t>
            </a:r>
          </a:p>
          <a:p>
            <a:pPr marL="342900" lvl="1" indent="-342900" algn="l">
              <a:lnSpc>
                <a:spcPct val="110000"/>
              </a:lnSpc>
              <a:spcBef>
                <a:spcPts val="0"/>
              </a:spcBef>
              <a:spcAft>
                <a:spcPts val="600"/>
              </a:spcAft>
              <a:buFont typeface="Wingdings" panose="05000000000000000000" pitchFamily="2" charset="2"/>
              <a:buChar char="§"/>
            </a:pPr>
            <a:r>
              <a:rPr lang="en-US" sz="1600" dirty="0">
                <a:solidFill>
                  <a:schemeClr val="tx1"/>
                </a:solidFill>
              </a:rPr>
              <a:t>Once the feature “Export Data member” is enabled, the date is continuously written to the SD card until the SD card is full. </a:t>
            </a:r>
          </a:p>
          <a:p>
            <a:pPr marL="342900" lvl="1" indent="-342900" algn="l">
              <a:lnSpc>
                <a:spcPct val="110000"/>
              </a:lnSpc>
              <a:spcBef>
                <a:spcPts val="0"/>
              </a:spcBef>
              <a:spcAft>
                <a:spcPts val="600"/>
              </a:spcAft>
              <a:buFont typeface="Wingdings" panose="05000000000000000000" pitchFamily="2" charset="2"/>
              <a:buChar char="§"/>
            </a:pPr>
            <a:r>
              <a:rPr lang="en-US" sz="1600" dirty="0">
                <a:solidFill>
                  <a:schemeClr val="tx1"/>
                </a:solidFill>
              </a:rPr>
              <a:t>More details of SD card can be found controller data sheet document</a:t>
            </a:r>
          </a:p>
        </p:txBody>
      </p:sp>
      <p:sp>
        <p:nvSpPr>
          <p:cNvPr id="6" name="Textfeld 337">
            <a:extLst>
              <a:ext uri="{FF2B5EF4-FFF2-40B4-BE49-F238E27FC236}">
                <a16:creationId xmlns:a16="http://schemas.microsoft.com/office/drawing/2014/main" id="{8EC7C526-26C7-4906-96D4-34CA23EBAA16}"/>
              </a:ext>
            </a:extLst>
          </p:cNvPr>
          <p:cNvSpPr txBox="1"/>
          <p:nvPr/>
        </p:nvSpPr>
        <p:spPr>
          <a:xfrm>
            <a:off x="-1" y="4413970"/>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Trend logging / Archive</a:t>
            </a:r>
            <a:endParaRPr lang="en-US" sz="1100" b="0" u="none" strike="noStrike" kern="1200" dirty="0">
              <a:effectLst/>
              <a:latin typeface="+mj-lt"/>
              <a:ea typeface="+mn-ea"/>
            </a:endParaRPr>
          </a:p>
        </p:txBody>
      </p:sp>
    </p:spTree>
    <p:extLst>
      <p:ext uri="{BB962C8B-B14F-4D97-AF65-F5344CB8AC3E}">
        <p14:creationId xmlns:p14="http://schemas.microsoft.com/office/powerpoint/2010/main" val="3220879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xEl>
                                              <p:pRg st="4" end="4"/>
                                            </p:txEl>
                                          </p:spTgt>
                                        </p:tgtEl>
                                        <p:attrNameLst>
                                          <p:attrName>style.visibility</p:attrName>
                                        </p:attrNameLst>
                                      </p:cBhvr>
                                      <p:to>
                                        <p:strVal val="visible"/>
                                      </p:to>
                                    </p:set>
                                    <p:animEffect transition="in" filter="fade">
                                      <p:cBhvr>
                                        <p:cTn id="7" dur="500"/>
                                        <p:tgtEl>
                                          <p:spTgt spid="9">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9">
                                            <p:txEl>
                                              <p:pRg st="5" end="5"/>
                                            </p:txEl>
                                          </p:spTgt>
                                        </p:tgtEl>
                                        <p:attrNameLst>
                                          <p:attrName>style.visibility</p:attrName>
                                        </p:attrNameLst>
                                      </p:cBhvr>
                                      <p:to>
                                        <p:strVal val="visible"/>
                                      </p:to>
                                    </p:set>
                                    <p:animEffect transition="in" filter="fade">
                                      <p:cBhvr>
                                        <p:cTn id="10" dur="500"/>
                                        <p:tgtEl>
                                          <p:spTgt spid="9">
                                            <p:txEl>
                                              <p:pRg st="5" end="5"/>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9">
                                            <p:txEl>
                                              <p:pRg st="6" end="6"/>
                                            </p:txEl>
                                          </p:spTgt>
                                        </p:tgtEl>
                                        <p:attrNameLst>
                                          <p:attrName>style.visibility</p:attrName>
                                        </p:attrNameLst>
                                      </p:cBhvr>
                                      <p:to>
                                        <p:strVal val="visible"/>
                                      </p:to>
                                    </p:set>
                                    <p:animEffect transition="in" filter="fade">
                                      <p:cBhvr>
                                        <p:cTn id="13" dur="500"/>
                                        <p:tgtEl>
                                          <p:spTgt spid="9">
                                            <p:txEl>
                                              <p:pRg st="6" end="6"/>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6" name="Picture 185">
            <a:extLst>
              <a:ext uri="{FF2B5EF4-FFF2-40B4-BE49-F238E27FC236}">
                <a16:creationId xmlns:a16="http://schemas.microsoft.com/office/drawing/2014/main" id="{AA1F9A0C-1963-4335-9CBE-7DF1A48B16F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962315" y="228079"/>
            <a:ext cx="5196679" cy="3469883"/>
          </a:xfrm>
          <a:prstGeom prst="rect">
            <a:avLst/>
          </a:prstGeom>
        </p:spPr>
      </p:pic>
      <p:sp>
        <p:nvSpPr>
          <p:cNvPr id="2" name="Titel 1"/>
          <p:cNvSpPr>
            <a:spLocks noGrp="1"/>
          </p:cNvSpPr>
          <p:nvPr>
            <p:ph type="title"/>
          </p:nvPr>
        </p:nvSpPr>
        <p:spPr/>
        <p:txBody>
          <a:bodyPr/>
          <a:lstStyle/>
          <a:p>
            <a:br>
              <a:rPr lang="en-US"/>
            </a:br>
            <a:endParaRPr lang="en-US" noProof="0"/>
          </a:p>
        </p:txBody>
      </p:sp>
      <p:sp>
        <p:nvSpPr>
          <p:cNvPr id="47" name="cdtText Box 4 Id114692">
            <a:extLst>
              <a:ext uri="{FF2B5EF4-FFF2-40B4-BE49-F238E27FC236}">
                <a16:creationId xmlns:a16="http://schemas.microsoft.com/office/drawing/2014/main" id="{280AB5EB-1010-4300-AABD-DD8BF9A2B905}"/>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a:solidFill>
                  <a:schemeClr val="bg1"/>
                </a:solidFill>
              </a:rPr>
              <a:t>Example Application</a:t>
            </a:r>
          </a:p>
        </p:txBody>
      </p:sp>
      <p:sp>
        <p:nvSpPr>
          <p:cNvPr id="3" name="Oval 2">
            <a:extLst>
              <a:ext uri="{FF2B5EF4-FFF2-40B4-BE49-F238E27FC236}">
                <a16:creationId xmlns:a16="http://schemas.microsoft.com/office/drawing/2014/main" id="{6F6B2F90-411C-4CE0-87D6-8540C7987061}"/>
              </a:ext>
            </a:extLst>
          </p:cNvPr>
          <p:cNvSpPr/>
          <p:nvPr/>
        </p:nvSpPr>
        <p:spPr bwMode="auto">
          <a:xfrm>
            <a:off x="10651335" y="2497502"/>
            <a:ext cx="409889" cy="409889"/>
          </a:xfrm>
          <a:prstGeom prst="ellipse">
            <a:avLst/>
          </a:prstGeom>
          <a:solidFill>
            <a:schemeClr val="accent3"/>
          </a:solidFill>
          <a:ln w="38100">
            <a:solidFill>
              <a:srgbClr val="4A6274"/>
            </a:solidFill>
          </a:ln>
          <a:effectLst/>
        </p:spPr>
        <p:txBody>
          <a:bodyPr wrap="square" lIns="0" tIns="0" rIns="0" bIns="0" numCol="1" spcCol="72000" rtlCol="0" anchor="ctr">
            <a:noAutofit/>
          </a:bodyPr>
          <a:lstStyle/>
          <a:p>
            <a:pPr>
              <a:lnSpc>
                <a:spcPct val="110000"/>
              </a:lnSpc>
              <a:spcBef>
                <a:spcPct val="0"/>
              </a:spcBef>
            </a:pPr>
            <a:r>
              <a:rPr lang="en-US" b="1">
                <a:solidFill>
                  <a:schemeClr val="tx1"/>
                </a:solidFill>
              </a:rPr>
              <a:t>T</a:t>
            </a:r>
          </a:p>
        </p:txBody>
      </p:sp>
      <p:pic>
        <p:nvPicPr>
          <p:cNvPr id="109" name="Picture 108">
            <a:extLst>
              <a:ext uri="{FF2B5EF4-FFF2-40B4-BE49-F238E27FC236}">
                <a16:creationId xmlns:a16="http://schemas.microsoft.com/office/drawing/2014/main" id="{74CF508A-544C-41D6-9E1F-4013AA2E7F87}"/>
              </a:ext>
            </a:extLst>
          </p:cNvPr>
          <p:cNvPicPr>
            <a:picLocks noChangeAspect="1"/>
          </p:cNvPicPr>
          <p:nvPr/>
        </p:nvPicPr>
        <p:blipFill>
          <a:blip r:embed="rId4"/>
          <a:stretch>
            <a:fillRect/>
          </a:stretch>
        </p:blipFill>
        <p:spPr>
          <a:xfrm>
            <a:off x="12275933" y="1926917"/>
            <a:ext cx="1392401" cy="739670"/>
          </a:xfrm>
          <a:prstGeom prst="rect">
            <a:avLst/>
          </a:prstGeom>
        </p:spPr>
      </p:pic>
      <p:cxnSp>
        <p:nvCxnSpPr>
          <p:cNvPr id="122" name="Straight Connector 121">
            <a:extLst>
              <a:ext uri="{FF2B5EF4-FFF2-40B4-BE49-F238E27FC236}">
                <a16:creationId xmlns:a16="http://schemas.microsoft.com/office/drawing/2014/main" id="{C3086CB0-065E-48E4-B87A-2BE477F02150}"/>
              </a:ext>
            </a:extLst>
          </p:cNvPr>
          <p:cNvCxnSpPr/>
          <p:nvPr/>
        </p:nvCxnSpPr>
        <p:spPr bwMode="auto">
          <a:xfrm>
            <a:off x="7512570" y="2294237"/>
            <a:ext cx="3930717" cy="0"/>
          </a:xfrm>
          <a:prstGeom prst="line">
            <a:avLst/>
          </a:prstGeom>
          <a:solidFill>
            <a:schemeClr val="tx2"/>
          </a:solidFill>
          <a:ln w="76200" cap="flat" cmpd="sng" algn="ctr">
            <a:solidFill>
              <a:srgbClr val="0000C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7" name="Rectangle 126">
            <a:extLst>
              <a:ext uri="{FF2B5EF4-FFF2-40B4-BE49-F238E27FC236}">
                <a16:creationId xmlns:a16="http://schemas.microsoft.com/office/drawing/2014/main" id="{97CF54C3-0D13-4284-882E-C347CD90CFE7}"/>
              </a:ext>
            </a:extLst>
          </p:cNvPr>
          <p:cNvSpPr/>
          <p:nvPr/>
        </p:nvSpPr>
        <p:spPr bwMode="auto">
          <a:xfrm rot="16200000">
            <a:off x="10669076" y="1395175"/>
            <a:ext cx="2113246" cy="543105"/>
          </a:xfrm>
          <a:prstGeom prst="rect">
            <a:avLst/>
          </a:prstGeom>
          <a:noFill/>
          <a:ln w="762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grpSp>
        <p:nvGrpSpPr>
          <p:cNvPr id="1024" name="Group 1023">
            <a:extLst>
              <a:ext uri="{FF2B5EF4-FFF2-40B4-BE49-F238E27FC236}">
                <a16:creationId xmlns:a16="http://schemas.microsoft.com/office/drawing/2014/main" id="{CEBA408E-5B89-4889-A940-8AEA10B9AD8F}"/>
              </a:ext>
            </a:extLst>
          </p:cNvPr>
          <p:cNvGrpSpPr/>
          <p:nvPr/>
        </p:nvGrpSpPr>
        <p:grpSpPr>
          <a:xfrm rot="10800000">
            <a:off x="10976736" y="2150629"/>
            <a:ext cx="242736" cy="287214"/>
            <a:chOff x="8014831" y="4649229"/>
            <a:chExt cx="242736" cy="287214"/>
          </a:xfrm>
        </p:grpSpPr>
        <p:sp>
          <p:nvSpPr>
            <p:cNvPr id="123" name="Rectangle 122">
              <a:extLst>
                <a:ext uri="{FF2B5EF4-FFF2-40B4-BE49-F238E27FC236}">
                  <a16:creationId xmlns:a16="http://schemas.microsoft.com/office/drawing/2014/main" id="{D5576CBF-5970-4A1C-92A5-81B32EB5407E}"/>
                </a:ext>
              </a:extLst>
            </p:cNvPr>
            <p:cNvSpPr/>
            <p:nvPr/>
          </p:nvSpPr>
          <p:spPr bwMode="auto">
            <a:xfrm>
              <a:off x="8014831" y="4649229"/>
              <a:ext cx="242736" cy="287214"/>
            </a:xfrm>
            <a:prstGeom prst="rect">
              <a:avLst/>
            </a:prstGeom>
            <a:solidFill>
              <a:schemeClr val="bg1"/>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130" name="Isosceles Triangle 129">
              <a:extLst>
                <a:ext uri="{FF2B5EF4-FFF2-40B4-BE49-F238E27FC236}">
                  <a16:creationId xmlns:a16="http://schemas.microsoft.com/office/drawing/2014/main" id="{A74EA87B-817C-4558-B007-45C35159C45D}"/>
                </a:ext>
              </a:extLst>
            </p:cNvPr>
            <p:cNvSpPr/>
            <p:nvPr/>
          </p:nvSpPr>
          <p:spPr bwMode="auto">
            <a:xfrm rot="16200000">
              <a:off x="8032200" y="4698076"/>
              <a:ext cx="204692" cy="189521"/>
            </a:xfrm>
            <a:prstGeom prst="triangle">
              <a:avLst/>
            </a:prstGeom>
            <a:solidFill>
              <a:srgbClr val="0000CA"/>
            </a:solidFill>
            <a:ln w="25400">
              <a:no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grpSp>
      <p:cxnSp>
        <p:nvCxnSpPr>
          <p:cNvPr id="132" name="Straight Connector 131">
            <a:extLst>
              <a:ext uri="{FF2B5EF4-FFF2-40B4-BE49-F238E27FC236}">
                <a16:creationId xmlns:a16="http://schemas.microsoft.com/office/drawing/2014/main" id="{2998C113-5DC4-4F08-81FC-480AF9B2913A}"/>
              </a:ext>
            </a:extLst>
          </p:cNvPr>
          <p:cNvCxnSpPr/>
          <p:nvPr/>
        </p:nvCxnSpPr>
        <p:spPr bwMode="auto">
          <a:xfrm>
            <a:off x="7512570" y="961213"/>
            <a:ext cx="3930717" cy="0"/>
          </a:xfrm>
          <a:prstGeom prst="line">
            <a:avLst/>
          </a:prstGeom>
          <a:solidFill>
            <a:schemeClr val="tx2"/>
          </a:solidFill>
          <a:ln w="76200" cap="flat" cmpd="sng" algn="ctr">
            <a:solidFill>
              <a:srgbClr val="0000C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33" name="Group 132">
            <a:extLst>
              <a:ext uri="{FF2B5EF4-FFF2-40B4-BE49-F238E27FC236}">
                <a16:creationId xmlns:a16="http://schemas.microsoft.com/office/drawing/2014/main" id="{8A63F059-9CCD-4DD0-B905-BDAC584C6458}"/>
              </a:ext>
            </a:extLst>
          </p:cNvPr>
          <p:cNvGrpSpPr/>
          <p:nvPr/>
        </p:nvGrpSpPr>
        <p:grpSpPr>
          <a:xfrm>
            <a:off x="10976736" y="817606"/>
            <a:ext cx="242736" cy="287214"/>
            <a:chOff x="8014831" y="4649229"/>
            <a:chExt cx="242736" cy="287214"/>
          </a:xfrm>
        </p:grpSpPr>
        <p:sp>
          <p:nvSpPr>
            <p:cNvPr id="134" name="Rectangle 133">
              <a:extLst>
                <a:ext uri="{FF2B5EF4-FFF2-40B4-BE49-F238E27FC236}">
                  <a16:creationId xmlns:a16="http://schemas.microsoft.com/office/drawing/2014/main" id="{3F2C583D-B396-40EE-BEF1-CDF2228BBED1}"/>
                </a:ext>
              </a:extLst>
            </p:cNvPr>
            <p:cNvSpPr/>
            <p:nvPr/>
          </p:nvSpPr>
          <p:spPr bwMode="auto">
            <a:xfrm>
              <a:off x="8014831" y="4649229"/>
              <a:ext cx="242736" cy="287214"/>
            </a:xfrm>
            <a:prstGeom prst="rect">
              <a:avLst/>
            </a:prstGeom>
            <a:solidFill>
              <a:schemeClr val="bg1"/>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135" name="Isosceles Triangle 134">
              <a:extLst>
                <a:ext uri="{FF2B5EF4-FFF2-40B4-BE49-F238E27FC236}">
                  <a16:creationId xmlns:a16="http://schemas.microsoft.com/office/drawing/2014/main" id="{0FEAFA66-443A-4BD4-837E-E8DE4CA3BE7B}"/>
                </a:ext>
              </a:extLst>
            </p:cNvPr>
            <p:cNvSpPr/>
            <p:nvPr/>
          </p:nvSpPr>
          <p:spPr bwMode="auto">
            <a:xfrm rot="16200000">
              <a:off x="8032200" y="4698076"/>
              <a:ext cx="204692" cy="189521"/>
            </a:xfrm>
            <a:prstGeom prst="triangle">
              <a:avLst/>
            </a:prstGeom>
            <a:solidFill>
              <a:srgbClr val="0000CA"/>
            </a:solidFill>
            <a:ln w="25400">
              <a:no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grpSp>
      <p:grpSp>
        <p:nvGrpSpPr>
          <p:cNvPr id="1029" name="Group 1028">
            <a:extLst>
              <a:ext uri="{FF2B5EF4-FFF2-40B4-BE49-F238E27FC236}">
                <a16:creationId xmlns:a16="http://schemas.microsoft.com/office/drawing/2014/main" id="{4ABD8EE3-1BA3-4B31-8704-5EA383EE3856}"/>
              </a:ext>
            </a:extLst>
          </p:cNvPr>
          <p:cNvGrpSpPr/>
          <p:nvPr/>
        </p:nvGrpSpPr>
        <p:grpSpPr>
          <a:xfrm>
            <a:off x="8923215" y="2164503"/>
            <a:ext cx="301106" cy="522950"/>
            <a:chOff x="8723158" y="4646093"/>
            <a:chExt cx="301106" cy="522950"/>
          </a:xfrm>
        </p:grpSpPr>
        <p:grpSp>
          <p:nvGrpSpPr>
            <p:cNvPr id="101" name="Group 100">
              <a:extLst>
                <a:ext uri="{FF2B5EF4-FFF2-40B4-BE49-F238E27FC236}">
                  <a16:creationId xmlns:a16="http://schemas.microsoft.com/office/drawing/2014/main" id="{F21C1A85-2E71-445F-B114-31AF8BD2C8B5}"/>
                </a:ext>
              </a:extLst>
            </p:cNvPr>
            <p:cNvGrpSpPr/>
            <p:nvPr/>
          </p:nvGrpSpPr>
          <p:grpSpPr>
            <a:xfrm rot="16200000">
              <a:off x="8612236" y="4757015"/>
              <a:ext cx="522950" cy="301106"/>
              <a:chOff x="10997936" y="4512462"/>
              <a:chExt cx="215204" cy="382394"/>
            </a:xfrm>
            <a:solidFill>
              <a:schemeClr val="bg1"/>
            </a:solidFill>
          </p:grpSpPr>
          <p:sp>
            <p:nvSpPr>
              <p:cNvPr id="102" name="Rectangle 101">
                <a:extLst>
                  <a:ext uri="{FF2B5EF4-FFF2-40B4-BE49-F238E27FC236}">
                    <a16:creationId xmlns:a16="http://schemas.microsoft.com/office/drawing/2014/main" id="{7769C5C0-F3E7-4202-A8AB-0049551A4052}"/>
                  </a:ext>
                </a:extLst>
              </p:cNvPr>
              <p:cNvSpPr/>
              <p:nvPr/>
            </p:nvSpPr>
            <p:spPr bwMode="auto">
              <a:xfrm>
                <a:off x="10997936" y="4512464"/>
                <a:ext cx="215204" cy="382392"/>
              </a:xfrm>
              <a:prstGeom prst="rect">
                <a:avLst/>
              </a:prstGeom>
              <a:solidFill>
                <a:schemeClr val="accent5">
                  <a:lumMod val="40000"/>
                  <a:lumOff val="60000"/>
                </a:schemeClr>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cxnSp>
            <p:nvCxnSpPr>
              <p:cNvPr id="103" name="Straight Connector 102">
                <a:extLst>
                  <a:ext uri="{FF2B5EF4-FFF2-40B4-BE49-F238E27FC236}">
                    <a16:creationId xmlns:a16="http://schemas.microsoft.com/office/drawing/2014/main" id="{D49CC82B-51AF-4253-AA2F-79C4B18B752E}"/>
                  </a:ext>
                </a:extLst>
              </p:cNvPr>
              <p:cNvCxnSpPr>
                <a:cxnSpLocks/>
              </p:cNvCxnSpPr>
              <p:nvPr/>
            </p:nvCxnSpPr>
            <p:spPr bwMode="auto">
              <a:xfrm rot="5400000" flipV="1">
                <a:off x="10916690" y="4597287"/>
                <a:ext cx="374874" cy="20522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04" name="Straight Connector 103">
                <a:extLst>
                  <a:ext uri="{FF2B5EF4-FFF2-40B4-BE49-F238E27FC236}">
                    <a16:creationId xmlns:a16="http://schemas.microsoft.com/office/drawing/2014/main" id="{25B99AD1-AD33-4622-80E2-6B3358774FC7}"/>
                  </a:ext>
                </a:extLst>
              </p:cNvPr>
              <p:cNvCxnSpPr>
                <a:cxnSpLocks/>
              </p:cNvCxnSpPr>
              <p:nvPr/>
            </p:nvCxnSpPr>
            <p:spPr bwMode="auto">
              <a:xfrm flipH="1">
                <a:off x="10997936" y="4512463"/>
                <a:ext cx="215204" cy="37440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cxnSp>
          <p:nvCxnSpPr>
            <p:cNvPr id="107" name="Straight Connector 106">
              <a:extLst>
                <a:ext uri="{FF2B5EF4-FFF2-40B4-BE49-F238E27FC236}">
                  <a16:creationId xmlns:a16="http://schemas.microsoft.com/office/drawing/2014/main" id="{FA5A95D5-14C8-456A-B5BE-59DAF268A9BA}"/>
                </a:ext>
              </a:extLst>
            </p:cNvPr>
            <p:cNvCxnSpPr/>
            <p:nvPr/>
          </p:nvCxnSpPr>
          <p:spPr bwMode="auto">
            <a:xfrm flipH="1">
              <a:off x="8817859" y="4710977"/>
              <a:ext cx="110490" cy="0"/>
            </a:xfrm>
            <a:prstGeom prst="line">
              <a:avLst/>
            </a:prstGeom>
            <a:solidFill>
              <a:schemeClr val="bg1"/>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030" name="Group 1029">
            <a:extLst>
              <a:ext uri="{FF2B5EF4-FFF2-40B4-BE49-F238E27FC236}">
                <a16:creationId xmlns:a16="http://schemas.microsoft.com/office/drawing/2014/main" id="{2CA9236E-499F-4B2E-8F84-1F793AA2F199}"/>
              </a:ext>
            </a:extLst>
          </p:cNvPr>
          <p:cNvGrpSpPr/>
          <p:nvPr/>
        </p:nvGrpSpPr>
        <p:grpSpPr>
          <a:xfrm>
            <a:off x="9420451" y="2156816"/>
            <a:ext cx="301106" cy="522950"/>
            <a:chOff x="9220394" y="4638406"/>
            <a:chExt cx="301106" cy="522950"/>
          </a:xfrm>
        </p:grpSpPr>
        <p:grpSp>
          <p:nvGrpSpPr>
            <p:cNvPr id="93" name="Group 92">
              <a:extLst>
                <a:ext uri="{FF2B5EF4-FFF2-40B4-BE49-F238E27FC236}">
                  <a16:creationId xmlns:a16="http://schemas.microsoft.com/office/drawing/2014/main" id="{47E20BDE-942F-4AD7-92A4-864E332E1AD7}"/>
                </a:ext>
              </a:extLst>
            </p:cNvPr>
            <p:cNvGrpSpPr/>
            <p:nvPr/>
          </p:nvGrpSpPr>
          <p:grpSpPr>
            <a:xfrm rot="16200000">
              <a:off x="9109472" y="4749328"/>
              <a:ext cx="522950" cy="301106"/>
              <a:chOff x="10997936" y="4512462"/>
              <a:chExt cx="215204" cy="382394"/>
            </a:xfrm>
            <a:solidFill>
              <a:schemeClr val="bg1"/>
            </a:solidFill>
          </p:grpSpPr>
          <p:sp>
            <p:nvSpPr>
              <p:cNvPr id="94" name="Rectangle 93">
                <a:extLst>
                  <a:ext uri="{FF2B5EF4-FFF2-40B4-BE49-F238E27FC236}">
                    <a16:creationId xmlns:a16="http://schemas.microsoft.com/office/drawing/2014/main" id="{F559B03D-39B3-461D-B712-A9AA2ECA4BCD}"/>
                  </a:ext>
                </a:extLst>
              </p:cNvPr>
              <p:cNvSpPr/>
              <p:nvPr/>
            </p:nvSpPr>
            <p:spPr bwMode="auto">
              <a:xfrm>
                <a:off x="10997936" y="4512464"/>
                <a:ext cx="215204" cy="382392"/>
              </a:xfrm>
              <a:prstGeom prst="rect">
                <a:avLst/>
              </a:prstGeom>
              <a:solidFill>
                <a:srgbClr val="FFFF00"/>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cxnSp>
            <p:nvCxnSpPr>
              <p:cNvPr id="95" name="Straight Connector 94">
                <a:extLst>
                  <a:ext uri="{FF2B5EF4-FFF2-40B4-BE49-F238E27FC236}">
                    <a16:creationId xmlns:a16="http://schemas.microsoft.com/office/drawing/2014/main" id="{49CD0C1F-BE98-458F-B74D-C31A667CC815}"/>
                  </a:ext>
                </a:extLst>
              </p:cNvPr>
              <p:cNvCxnSpPr>
                <a:cxnSpLocks/>
              </p:cNvCxnSpPr>
              <p:nvPr/>
            </p:nvCxnSpPr>
            <p:spPr bwMode="auto">
              <a:xfrm rot="5400000" flipV="1">
                <a:off x="10916690" y="4597287"/>
                <a:ext cx="374874" cy="20522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 name="Group 13">
              <a:extLst>
                <a:ext uri="{FF2B5EF4-FFF2-40B4-BE49-F238E27FC236}">
                  <a16:creationId xmlns:a16="http://schemas.microsoft.com/office/drawing/2014/main" id="{9FE19654-BA2B-4F99-9C1C-D7FD79876DBB}"/>
                </a:ext>
              </a:extLst>
            </p:cNvPr>
            <p:cNvGrpSpPr/>
            <p:nvPr/>
          </p:nvGrpSpPr>
          <p:grpSpPr>
            <a:xfrm>
              <a:off x="9303152" y="4665719"/>
              <a:ext cx="121539" cy="123044"/>
              <a:chOff x="5061585" y="2973937"/>
              <a:chExt cx="110490" cy="123044"/>
            </a:xfrm>
            <a:solidFill>
              <a:schemeClr val="bg1"/>
            </a:solidFill>
          </p:grpSpPr>
          <p:cxnSp>
            <p:nvCxnSpPr>
              <p:cNvPr id="105" name="Straight Connector 104">
                <a:extLst>
                  <a:ext uri="{FF2B5EF4-FFF2-40B4-BE49-F238E27FC236}">
                    <a16:creationId xmlns:a16="http://schemas.microsoft.com/office/drawing/2014/main" id="{08A4291E-B24E-4B41-BFFB-135E11C72648}"/>
                  </a:ext>
                </a:extLst>
              </p:cNvPr>
              <p:cNvCxnSpPr/>
              <p:nvPr/>
            </p:nvCxnSpPr>
            <p:spPr bwMode="auto">
              <a:xfrm>
                <a:off x="5116830" y="2973937"/>
                <a:ext cx="0" cy="12304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06" name="Straight Connector 105">
                <a:extLst>
                  <a:ext uri="{FF2B5EF4-FFF2-40B4-BE49-F238E27FC236}">
                    <a16:creationId xmlns:a16="http://schemas.microsoft.com/office/drawing/2014/main" id="{40CEDD4E-A936-446B-923E-9934A266E7E6}"/>
                  </a:ext>
                </a:extLst>
              </p:cNvPr>
              <p:cNvCxnSpPr/>
              <p:nvPr/>
            </p:nvCxnSpPr>
            <p:spPr bwMode="auto">
              <a:xfrm flipH="1">
                <a:off x="5061585" y="3038720"/>
                <a:ext cx="110490" cy="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nvGrpSpPr>
          <p:cNvPr id="139" name="Group 138">
            <a:extLst>
              <a:ext uri="{FF2B5EF4-FFF2-40B4-BE49-F238E27FC236}">
                <a16:creationId xmlns:a16="http://schemas.microsoft.com/office/drawing/2014/main" id="{3DB31EC1-297A-42A2-92CC-9B5EA3B7DE53}"/>
              </a:ext>
            </a:extLst>
          </p:cNvPr>
          <p:cNvGrpSpPr/>
          <p:nvPr/>
        </p:nvGrpSpPr>
        <p:grpSpPr>
          <a:xfrm rot="16200000">
            <a:off x="8186000" y="2151116"/>
            <a:ext cx="522950" cy="301104"/>
            <a:chOff x="10997936" y="4512464"/>
            <a:chExt cx="215204" cy="382392"/>
          </a:xfrm>
          <a:solidFill>
            <a:schemeClr val="bg1"/>
          </a:solidFill>
        </p:grpSpPr>
        <p:sp>
          <p:nvSpPr>
            <p:cNvPr id="140" name="Rectangle 139">
              <a:extLst>
                <a:ext uri="{FF2B5EF4-FFF2-40B4-BE49-F238E27FC236}">
                  <a16:creationId xmlns:a16="http://schemas.microsoft.com/office/drawing/2014/main" id="{AFC1B7E0-E286-42AA-A5FD-A0E9C6AFBB9A}"/>
                </a:ext>
              </a:extLst>
            </p:cNvPr>
            <p:cNvSpPr/>
            <p:nvPr/>
          </p:nvSpPr>
          <p:spPr bwMode="auto">
            <a:xfrm>
              <a:off x="10997936" y="4512464"/>
              <a:ext cx="215204" cy="382392"/>
            </a:xfrm>
            <a:prstGeom prst="rect">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cxnSp>
          <p:nvCxnSpPr>
            <p:cNvPr id="141" name="Straight Connector 140">
              <a:extLst>
                <a:ext uri="{FF2B5EF4-FFF2-40B4-BE49-F238E27FC236}">
                  <a16:creationId xmlns:a16="http://schemas.microsoft.com/office/drawing/2014/main" id="{1002319D-AB75-4C3F-ACC9-8534AFF40BCB}"/>
                </a:ext>
              </a:extLst>
            </p:cNvPr>
            <p:cNvCxnSpPr>
              <a:cxnSpLocks/>
              <a:stCxn id="140" idx="1"/>
              <a:endCxn id="140" idx="2"/>
            </p:cNvCxnSpPr>
            <p:nvPr/>
          </p:nvCxnSpPr>
          <p:spPr bwMode="auto">
            <a:xfrm rot="5400000" flipV="1">
              <a:off x="10956139" y="4745457"/>
              <a:ext cx="191196" cy="107602"/>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2" name="Straight Connector 141">
              <a:extLst>
                <a:ext uri="{FF2B5EF4-FFF2-40B4-BE49-F238E27FC236}">
                  <a16:creationId xmlns:a16="http://schemas.microsoft.com/office/drawing/2014/main" id="{DFC8259C-5A98-4430-A37A-E0DA1F1EA8B7}"/>
                </a:ext>
              </a:extLst>
            </p:cNvPr>
            <p:cNvCxnSpPr>
              <a:cxnSpLocks/>
              <a:stCxn id="140" idx="3"/>
              <a:endCxn id="140" idx="2"/>
            </p:cNvCxnSpPr>
            <p:nvPr/>
          </p:nvCxnSpPr>
          <p:spPr bwMode="auto">
            <a:xfrm rot="5400000">
              <a:off x="11063741" y="4745457"/>
              <a:ext cx="191196" cy="107602"/>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cxnSp>
        <p:nvCxnSpPr>
          <p:cNvPr id="1041" name="Straight Connector 1040">
            <a:extLst>
              <a:ext uri="{FF2B5EF4-FFF2-40B4-BE49-F238E27FC236}">
                <a16:creationId xmlns:a16="http://schemas.microsoft.com/office/drawing/2014/main" id="{AA79F5A4-5718-4431-91A5-C5C964C25856}"/>
              </a:ext>
            </a:extLst>
          </p:cNvPr>
          <p:cNvCxnSpPr/>
          <p:nvPr/>
        </p:nvCxnSpPr>
        <p:spPr bwMode="auto">
          <a:xfrm>
            <a:off x="8985026" y="2687453"/>
            <a:ext cx="13469" cy="834378"/>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5" name="Straight Connector 164">
            <a:extLst>
              <a:ext uri="{FF2B5EF4-FFF2-40B4-BE49-F238E27FC236}">
                <a16:creationId xmlns:a16="http://schemas.microsoft.com/office/drawing/2014/main" id="{1F45ED20-E096-493E-9D0F-779043EDFCA7}"/>
              </a:ext>
            </a:extLst>
          </p:cNvPr>
          <p:cNvCxnSpPr/>
          <p:nvPr/>
        </p:nvCxnSpPr>
        <p:spPr bwMode="auto">
          <a:xfrm>
            <a:off x="9163527" y="2687453"/>
            <a:ext cx="0" cy="834378"/>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56" name="Group 155">
            <a:extLst>
              <a:ext uri="{FF2B5EF4-FFF2-40B4-BE49-F238E27FC236}">
                <a16:creationId xmlns:a16="http://schemas.microsoft.com/office/drawing/2014/main" id="{0457F5DE-B953-44C6-9312-32EC0591EA30}"/>
              </a:ext>
            </a:extLst>
          </p:cNvPr>
          <p:cNvGrpSpPr/>
          <p:nvPr/>
        </p:nvGrpSpPr>
        <p:grpSpPr>
          <a:xfrm>
            <a:off x="8800312" y="2873856"/>
            <a:ext cx="297146" cy="180736"/>
            <a:chOff x="5911240" y="5012523"/>
            <a:chExt cx="620858" cy="377631"/>
          </a:xfrm>
        </p:grpSpPr>
        <p:cxnSp>
          <p:nvCxnSpPr>
            <p:cNvPr id="157" name="Straight Connector 156">
              <a:extLst>
                <a:ext uri="{FF2B5EF4-FFF2-40B4-BE49-F238E27FC236}">
                  <a16:creationId xmlns:a16="http://schemas.microsoft.com/office/drawing/2014/main" id="{CFD3BD33-112E-4897-8115-A4D5D69167B3}"/>
                </a:ext>
              </a:extLst>
            </p:cNvPr>
            <p:cNvCxnSpPr>
              <a:cxnSpLocks/>
              <a:endCxn id="161" idx="6"/>
            </p:cNvCxnSpPr>
            <p:nvPr/>
          </p:nvCxnSpPr>
          <p:spPr bwMode="auto">
            <a:xfrm flipH="1">
              <a:off x="6158697" y="5205215"/>
              <a:ext cx="152236" cy="4203"/>
            </a:xfrm>
            <a:prstGeom prst="line">
              <a:avLst/>
            </a:prstGeom>
            <a:solidFill>
              <a:schemeClr val="tx2"/>
            </a:solidFill>
            <a:ln w="1905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8" name="Isosceles Triangle 157">
              <a:extLst>
                <a:ext uri="{FF2B5EF4-FFF2-40B4-BE49-F238E27FC236}">
                  <a16:creationId xmlns:a16="http://schemas.microsoft.com/office/drawing/2014/main" id="{0BA6C29D-C3BB-4702-B811-9AAAE0E8F488}"/>
                </a:ext>
              </a:extLst>
            </p:cNvPr>
            <p:cNvSpPr/>
            <p:nvPr/>
          </p:nvSpPr>
          <p:spPr bwMode="auto">
            <a:xfrm rot="10800000">
              <a:off x="6181617" y="5012523"/>
              <a:ext cx="258631" cy="189521"/>
            </a:xfrm>
            <a:prstGeom prst="triangle">
              <a:avLst/>
            </a:prstGeom>
            <a:solidFill>
              <a:schemeClr val="bg2">
                <a:lumMod val="50000"/>
              </a:schemeClr>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159" name="Isosceles Triangle 158">
              <a:extLst>
                <a:ext uri="{FF2B5EF4-FFF2-40B4-BE49-F238E27FC236}">
                  <a16:creationId xmlns:a16="http://schemas.microsoft.com/office/drawing/2014/main" id="{0FC621C7-C831-4FA2-BE97-314D9B76FF6A}"/>
                </a:ext>
              </a:extLst>
            </p:cNvPr>
            <p:cNvSpPr/>
            <p:nvPr/>
          </p:nvSpPr>
          <p:spPr bwMode="auto">
            <a:xfrm>
              <a:off x="6181617" y="5200633"/>
              <a:ext cx="258631" cy="189521"/>
            </a:xfrm>
            <a:prstGeom prst="triangle">
              <a:avLst/>
            </a:prstGeom>
            <a:solidFill>
              <a:schemeClr val="bg1"/>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160" name="Isosceles Triangle 159">
              <a:extLst>
                <a:ext uri="{FF2B5EF4-FFF2-40B4-BE49-F238E27FC236}">
                  <a16:creationId xmlns:a16="http://schemas.microsoft.com/office/drawing/2014/main" id="{6AD9EDFC-C372-4F24-9623-72829DF73198}"/>
                </a:ext>
              </a:extLst>
            </p:cNvPr>
            <p:cNvSpPr/>
            <p:nvPr/>
          </p:nvSpPr>
          <p:spPr bwMode="auto">
            <a:xfrm rot="16200000">
              <a:off x="6308022" y="5109070"/>
              <a:ext cx="258631" cy="189521"/>
            </a:xfrm>
            <a:prstGeom prst="triangle">
              <a:avLst/>
            </a:prstGeom>
            <a:solidFill>
              <a:schemeClr val="bg2">
                <a:lumMod val="50000"/>
              </a:schemeClr>
            </a:solidFill>
            <a:ln w="19050">
              <a:solidFill>
                <a:schemeClr val="bg2">
                  <a:lumMod val="50000"/>
                </a:schemeClr>
              </a:solid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161" name="Oval 160">
              <a:extLst>
                <a:ext uri="{FF2B5EF4-FFF2-40B4-BE49-F238E27FC236}">
                  <a16:creationId xmlns:a16="http://schemas.microsoft.com/office/drawing/2014/main" id="{F9C6EA09-B722-4847-A40A-BA665AC19822}"/>
                </a:ext>
              </a:extLst>
            </p:cNvPr>
            <p:cNvSpPr/>
            <p:nvPr/>
          </p:nvSpPr>
          <p:spPr bwMode="auto">
            <a:xfrm>
              <a:off x="5911240" y="5085689"/>
              <a:ext cx="247457" cy="247457"/>
            </a:xfrm>
            <a:prstGeom prst="ellipse">
              <a:avLst/>
            </a:prstGeom>
            <a:no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r>
                <a:rPr lang="de-DE" sz="600">
                  <a:solidFill>
                    <a:schemeClr val="tx1"/>
                  </a:solidFill>
                  <a:latin typeface="+mn-lt"/>
                  <a:ea typeface="Arial Unicode MS" panose="020B0604020202020204" pitchFamily="34" charset="-128"/>
                  <a:cs typeface="Arial Unicode MS" panose="020B0604020202020204" pitchFamily="34" charset="-128"/>
                </a:rPr>
                <a:t>M</a:t>
              </a:r>
            </a:p>
          </p:txBody>
        </p:sp>
      </p:grpSp>
      <p:cxnSp>
        <p:nvCxnSpPr>
          <p:cNvPr id="168" name="Straight Connector 167">
            <a:extLst>
              <a:ext uri="{FF2B5EF4-FFF2-40B4-BE49-F238E27FC236}">
                <a16:creationId xmlns:a16="http://schemas.microsoft.com/office/drawing/2014/main" id="{93B3406C-91EB-45F5-B154-11DDA4E55F5E}"/>
              </a:ext>
            </a:extLst>
          </p:cNvPr>
          <p:cNvCxnSpPr/>
          <p:nvPr/>
        </p:nvCxnSpPr>
        <p:spPr bwMode="auto">
          <a:xfrm>
            <a:off x="9486994" y="2687453"/>
            <a:ext cx="13469" cy="834378"/>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9" name="Straight Connector 168">
            <a:extLst>
              <a:ext uri="{FF2B5EF4-FFF2-40B4-BE49-F238E27FC236}">
                <a16:creationId xmlns:a16="http://schemas.microsoft.com/office/drawing/2014/main" id="{75EF1636-16D8-4767-ACFE-A1710990DF42}"/>
              </a:ext>
            </a:extLst>
          </p:cNvPr>
          <p:cNvCxnSpPr/>
          <p:nvPr/>
        </p:nvCxnSpPr>
        <p:spPr bwMode="auto">
          <a:xfrm>
            <a:off x="9665495" y="2687453"/>
            <a:ext cx="0" cy="834378"/>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70" name="Group 169">
            <a:extLst>
              <a:ext uri="{FF2B5EF4-FFF2-40B4-BE49-F238E27FC236}">
                <a16:creationId xmlns:a16="http://schemas.microsoft.com/office/drawing/2014/main" id="{677FCABC-3ACB-4897-A218-FF3E7B066DEF}"/>
              </a:ext>
            </a:extLst>
          </p:cNvPr>
          <p:cNvGrpSpPr/>
          <p:nvPr/>
        </p:nvGrpSpPr>
        <p:grpSpPr>
          <a:xfrm>
            <a:off x="9302280" y="2873856"/>
            <a:ext cx="297146" cy="180736"/>
            <a:chOff x="5911240" y="5012523"/>
            <a:chExt cx="620858" cy="377631"/>
          </a:xfrm>
        </p:grpSpPr>
        <p:cxnSp>
          <p:nvCxnSpPr>
            <p:cNvPr id="171" name="Straight Connector 170">
              <a:extLst>
                <a:ext uri="{FF2B5EF4-FFF2-40B4-BE49-F238E27FC236}">
                  <a16:creationId xmlns:a16="http://schemas.microsoft.com/office/drawing/2014/main" id="{1EF0704A-ED51-4854-ACA0-87D661D5AB08}"/>
                </a:ext>
              </a:extLst>
            </p:cNvPr>
            <p:cNvCxnSpPr>
              <a:cxnSpLocks/>
              <a:endCxn id="175" idx="6"/>
            </p:cNvCxnSpPr>
            <p:nvPr/>
          </p:nvCxnSpPr>
          <p:spPr bwMode="auto">
            <a:xfrm flipH="1">
              <a:off x="6158697" y="5205215"/>
              <a:ext cx="152236" cy="4203"/>
            </a:xfrm>
            <a:prstGeom prst="line">
              <a:avLst/>
            </a:prstGeom>
            <a:solidFill>
              <a:schemeClr val="tx2"/>
            </a:solidFill>
            <a:ln w="1905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2" name="Isosceles Triangle 171">
              <a:extLst>
                <a:ext uri="{FF2B5EF4-FFF2-40B4-BE49-F238E27FC236}">
                  <a16:creationId xmlns:a16="http://schemas.microsoft.com/office/drawing/2014/main" id="{A6AD4720-B370-4785-B4B9-01D2CC00C0EE}"/>
                </a:ext>
              </a:extLst>
            </p:cNvPr>
            <p:cNvSpPr/>
            <p:nvPr/>
          </p:nvSpPr>
          <p:spPr bwMode="auto">
            <a:xfrm rot="10800000">
              <a:off x="6181617" y="5012523"/>
              <a:ext cx="258631" cy="189521"/>
            </a:xfrm>
            <a:prstGeom prst="triangle">
              <a:avLst/>
            </a:prstGeom>
            <a:solidFill>
              <a:schemeClr val="bg2">
                <a:lumMod val="50000"/>
              </a:schemeClr>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173" name="Isosceles Triangle 172">
              <a:extLst>
                <a:ext uri="{FF2B5EF4-FFF2-40B4-BE49-F238E27FC236}">
                  <a16:creationId xmlns:a16="http://schemas.microsoft.com/office/drawing/2014/main" id="{470AF321-742F-4EB8-A82E-16F20D616FFE}"/>
                </a:ext>
              </a:extLst>
            </p:cNvPr>
            <p:cNvSpPr/>
            <p:nvPr/>
          </p:nvSpPr>
          <p:spPr bwMode="auto">
            <a:xfrm>
              <a:off x="6181617" y="5200633"/>
              <a:ext cx="258631" cy="189521"/>
            </a:xfrm>
            <a:prstGeom prst="triangle">
              <a:avLst/>
            </a:prstGeom>
            <a:solidFill>
              <a:schemeClr val="bg1"/>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174" name="Isosceles Triangle 173">
              <a:extLst>
                <a:ext uri="{FF2B5EF4-FFF2-40B4-BE49-F238E27FC236}">
                  <a16:creationId xmlns:a16="http://schemas.microsoft.com/office/drawing/2014/main" id="{E014E9BD-C906-4704-8239-A9CE698C4B80}"/>
                </a:ext>
              </a:extLst>
            </p:cNvPr>
            <p:cNvSpPr/>
            <p:nvPr/>
          </p:nvSpPr>
          <p:spPr bwMode="auto">
            <a:xfrm rot="16200000">
              <a:off x="6308022" y="5109070"/>
              <a:ext cx="258631" cy="189521"/>
            </a:xfrm>
            <a:prstGeom prst="triangle">
              <a:avLst/>
            </a:prstGeom>
            <a:solidFill>
              <a:schemeClr val="bg2">
                <a:lumMod val="50000"/>
              </a:schemeClr>
            </a:solidFill>
            <a:ln w="19050">
              <a:solidFill>
                <a:schemeClr val="bg2">
                  <a:lumMod val="50000"/>
                </a:schemeClr>
              </a:solid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175" name="Oval 174">
              <a:extLst>
                <a:ext uri="{FF2B5EF4-FFF2-40B4-BE49-F238E27FC236}">
                  <a16:creationId xmlns:a16="http://schemas.microsoft.com/office/drawing/2014/main" id="{B8DF97D4-F548-4DFD-BEC7-48710A2A7C75}"/>
                </a:ext>
              </a:extLst>
            </p:cNvPr>
            <p:cNvSpPr/>
            <p:nvPr/>
          </p:nvSpPr>
          <p:spPr bwMode="auto">
            <a:xfrm>
              <a:off x="5911240" y="5085689"/>
              <a:ext cx="247457" cy="247457"/>
            </a:xfrm>
            <a:prstGeom prst="ellipse">
              <a:avLst/>
            </a:prstGeom>
            <a:no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r>
                <a:rPr lang="de-DE" sz="600">
                  <a:solidFill>
                    <a:schemeClr val="tx1"/>
                  </a:solidFill>
                  <a:latin typeface="+mn-lt"/>
                  <a:ea typeface="Arial Unicode MS" panose="020B0604020202020204" pitchFamily="34" charset="-128"/>
                  <a:cs typeface="Arial Unicode MS" panose="020B0604020202020204" pitchFamily="34" charset="-128"/>
                </a:rPr>
                <a:t>M</a:t>
              </a:r>
            </a:p>
          </p:txBody>
        </p:sp>
      </p:grpSp>
      <p:cxnSp>
        <p:nvCxnSpPr>
          <p:cNvPr id="176" name="Straight Connector 175">
            <a:extLst>
              <a:ext uri="{FF2B5EF4-FFF2-40B4-BE49-F238E27FC236}">
                <a16:creationId xmlns:a16="http://schemas.microsoft.com/office/drawing/2014/main" id="{7900CF1E-DE9C-45F4-9C20-93C7623C8BA9}"/>
              </a:ext>
            </a:extLst>
          </p:cNvPr>
          <p:cNvCxnSpPr>
            <a:cxnSpLocks/>
            <a:endCxn id="3" idx="0"/>
          </p:cNvCxnSpPr>
          <p:nvPr/>
        </p:nvCxnSpPr>
        <p:spPr bwMode="auto">
          <a:xfrm>
            <a:off x="10856167" y="2337018"/>
            <a:ext cx="113" cy="160484"/>
          </a:xfrm>
          <a:prstGeom prst="line">
            <a:avLst/>
          </a:prstGeom>
          <a:solidFill>
            <a:schemeClr val="bg1"/>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79" name="Oval 178">
            <a:extLst>
              <a:ext uri="{FF2B5EF4-FFF2-40B4-BE49-F238E27FC236}">
                <a16:creationId xmlns:a16="http://schemas.microsoft.com/office/drawing/2014/main" id="{9257C674-00E1-4E7D-8410-A171723F0F9D}"/>
              </a:ext>
            </a:extLst>
          </p:cNvPr>
          <p:cNvSpPr/>
          <p:nvPr/>
        </p:nvSpPr>
        <p:spPr bwMode="auto">
          <a:xfrm>
            <a:off x="11520754" y="1389800"/>
            <a:ext cx="409889" cy="409889"/>
          </a:xfrm>
          <a:prstGeom prst="ellipse">
            <a:avLst/>
          </a:prstGeom>
          <a:solidFill>
            <a:schemeClr val="bg1"/>
          </a:solidFill>
          <a:ln w="38100">
            <a:solidFill>
              <a:srgbClr val="4A6274"/>
            </a:solidFill>
          </a:ln>
          <a:effectLst/>
        </p:spPr>
        <p:txBody>
          <a:bodyPr wrap="square" lIns="0" tIns="0" rIns="0" bIns="0" numCol="1" spcCol="72000" rtlCol="0" anchor="ctr">
            <a:noAutofit/>
          </a:bodyPr>
          <a:lstStyle/>
          <a:p>
            <a:pPr>
              <a:lnSpc>
                <a:spcPct val="110000"/>
              </a:lnSpc>
              <a:spcBef>
                <a:spcPct val="0"/>
              </a:spcBef>
            </a:pPr>
            <a:r>
              <a:rPr lang="en-US" b="1">
                <a:solidFill>
                  <a:schemeClr val="tx1"/>
                </a:solidFill>
              </a:rPr>
              <a:t>T</a:t>
            </a:r>
          </a:p>
        </p:txBody>
      </p:sp>
      <p:grpSp>
        <p:nvGrpSpPr>
          <p:cNvPr id="120" name="Group 119">
            <a:extLst>
              <a:ext uri="{FF2B5EF4-FFF2-40B4-BE49-F238E27FC236}">
                <a16:creationId xmlns:a16="http://schemas.microsoft.com/office/drawing/2014/main" id="{7BC5C803-395B-4E9A-A354-6A186F8A4621}"/>
              </a:ext>
            </a:extLst>
          </p:cNvPr>
          <p:cNvGrpSpPr/>
          <p:nvPr/>
        </p:nvGrpSpPr>
        <p:grpSpPr>
          <a:xfrm>
            <a:off x="9969973" y="2124669"/>
            <a:ext cx="333525" cy="331239"/>
            <a:chOff x="7170823" y="2963575"/>
            <a:chExt cx="479658" cy="476370"/>
          </a:xfrm>
          <a:solidFill>
            <a:schemeClr val="bg1"/>
          </a:solidFill>
        </p:grpSpPr>
        <p:sp>
          <p:nvSpPr>
            <p:cNvPr id="111" name="Oval 110">
              <a:extLst>
                <a:ext uri="{FF2B5EF4-FFF2-40B4-BE49-F238E27FC236}">
                  <a16:creationId xmlns:a16="http://schemas.microsoft.com/office/drawing/2014/main" id="{0E4EE65A-2F9D-447F-A308-C671BDABB7CE}"/>
                </a:ext>
              </a:extLst>
            </p:cNvPr>
            <p:cNvSpPr/>
            <p:nvPr/>
          </p:nvSpPr>
          <p:spPr bwMode="auto">
            <a:xfrm>
              <a:off x="7170823" y="2963575"/>
              <a:ext cx="476370" cy="476370"/>
            </a:xfrm>
            <a:prstGeom prst="ellips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nSpc>
                  <a:spcPct val="110000"/>
                </a:lnSpc>
                <a:spcBef>
                  <a:spcPct val="0"/>
                </a:spcBef>
              </a:pPr>
              <a:endParaRPr lang="en-US" b="1">
                <a:solidFill>
                  <a:schemeClr val="bg1"/>
                </a:solidFill>
              </a:endParaRPr>
            </a:p>
          </p:txBody>
        </p:sp>
        <p:cxnSp>
          <p:nvCxnSpPr>
            <p:cNvPr id="112" name="Straight Connector 111">
              <a:extLst>
                <a:ext uri="{FF2B5EF4-FFF2-40B4-BE49-F238E27FC236}">
                  <a16:creationId xmlns:a16="http://schemas.microsoft.com/office/drawing/2014/main" id="{3B5DB2A6-A4F6-41B5-93D5-D339C358EEFC}"/>
                </a:ext>
              </a:extLst>
            </p:cNvPr>
            <p:cNvCxnSpPr>
              <a:endCxn id="111" idx="1"/>
            </p:cNvCxnSpPr>
            <p:nvPr/>
          </p:nvCxnSpPr>
          <p:spPr bwMode="auto">
            <a:xfrm flipH="1" flipV="1">
              <a:off x="7240590" y="3033336"/>
              <a:ext cx="409891" cy="12134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15" name="Straight Connector 114">
              <a:extLst>
                <a:ext uri="{FF2B5EF4-FFF2-40B4-BE49-F238E27FC236}">
                  <a16:creationId xmlns:a16="http://schemas.microsoft.com/office/drawing/2014/main" id="{324D32CF-9913-4CC5-A672-D92FEDAA6B7B}"/>
                </a:ext>
              </a:extLst>
            </p:cNvPr>
            <p:cNvCxnSpPr>
              <a:endCxn id="111" idx="3"/>
            </p:cNvCxnSpPr>
            <p:nvPr/>
          </p:nvCxnSpPr>
          <p:spPr bwMode="auto">
            <a:xfrm flipH="1">
              <a:off x="7240590" y="3257550"/>
              <a:ext cx="409890" cy="11263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81" name="Group 180">
            <a:extLst>
              <a:ext uri="{FF2B5EF4-FFF2-40B4-BE49-F238E27FC236}">
                <a16:creationId xmlns:a16="http://schemas.microsoft.com/office/drawing/2014/main" id="{8321C90D-539C-4CB3-9CD5-FB1F7F0FE1AE}"/>
              </a:ext>
            </a:extLst>
          </p:cNvPr>
          <p:cNvGrpSpPr/>
          <p:nvPr/>
        </p:nvGrpSpPr>
        <p:grpSpPr>
          <a:xfrm rot="10800000">
            <a:off x="10099512" y="801351"/>
            <a:ext cx="333522" cy="331239"/>
            <a:chOff x="7170827" y="2963573"/>
            <a:chExt cx="479654" cy="476370"/>
          </a:xfrm>
          <a:solidFill>
            <a:schemeClr val="bg1"/>
          </a:solidFill>
        </p:grpSpPr>
        <p:sp>
          <p:nvSpPr>
            <p:cNvPr id="182" name="Oval 181">
              <a:extLst>
                <a:ext uri="{FF2B5EF4-FFF2-40B4-BE49-F238E27FC236}">
                  <a16:creationId xmlns:a16="http://schemas.microsoft.com/office/drawing/2014/main" id="{72828975-5CD9-469B-ADB2-56C8F55D4D45}"/>
                </a:ext>
              </a:extLst>
            </p:cNvPr>
            <p:cNvSpPr/>
            <p:nvPr/>
          </p:nvSpPr>
          <p:spPr bwMode="auto">
            <a:xfrm>
              <a:off x="7170827" y="2963573"/>
              <a:ext cx="476370" cy="476370"/>
            </a:xfrm>
            <a:prstGeom prst="ellips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nSpc>
                  <a:spcPct val="110000"/>
                </a:lnSpc>
                <a:spcBef>
                  <a:spcPct val="0"/>
                </a:spcBef>
              </a:pPr>
              <a:endParaRPr lang="en-US" b="1">
                <a:solidFill>
                  <a:schemeClr val="bg1"/>
                </a:solidFill>
              </a:endParaRPr>
            </a:p>
          </p:txBody>
        </p:sp>
        <p:cxnSp>
          <p:nvCxnSpPr>
            <p:cNvPr id="183" name="Straight Connector 182">
              <a:extLst>
                <a:ext uri="{FF2B5EF4-FFF2-40B4-BE49-F238E27FC236}">
                  <a16:creationId xmlns:a16="http://schemas.microsoft.com/office/drawing/2014/main" id="{5C29F3D5-FD5A-4A01-ADA7-2F4057003876}"/>
                </a:ext>
              </a:extLst>
            </p:cNvPr>
            <p:cNvCxnSpPr>
              <a:endCxn id="182" idx="1"/>
            </p:cNvCxnSpPr>
            <p:nvPr/>
          </p:nvCxnSpPr>
          <p:spPr bwMode="auto">
            <a:xfrm flipH="1" flipV="1">
              <a:off x="7240590" y="3033336"/>
              <a:ext cx="409891" cy="12134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4" name="Straight Connector 183">
              <a:extLst>
                <a:ext uri="{FF2B5EF4-FFF2-40B4-BE49-F238E27FC236}">
                  <a16:creationId xmlns:a16="http://schemas.microsoft.com/office/drawing/2014/main" id="{2824ED25-AF9B-470D-AF3D-0BF359CC7156}"/>
                </a:ext>
              </a:extLst>
            </p:cNvPr>
            <p:cNvCxnSpPr>
              <a:endCxn id="182" idx="3"/>
            </p:cNvCxnSpPr>
            <p:nvPr/>
          </p:nvCxnSpPr>
          <p:spPr bwMode="auto">
            <a:xfrm flipH="1">
              <a:off x="7240590" y="3257550"/>
              <a:ext cx="409890" cy="11263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88" name="Rechteck 25">
            <a:extLst>
              <a:ext uri="{FF2B5EF4-FFF2-40B4-BE49-F238E27FC236}">
                <a16:creationId xmlns:a16="http://schemas.microsoft.com/office/drawing/2014/main" id="{19D17691-B562-4382-BF6D-D08CE2FD02D3}"/>
              </a:ext>
            </a:extLst>
          </p:cNvPr>
          <p:cNvSpPr/>
          <p:nvPr/>
        </p:nvSpPr>
        <p:spPr bwMode="auto">
          <a:xfrm>
            <a:off x="2160000" y="1728000"/>
            <a:ext cx="156913" cy="5130001"/>
          </a:xfrm>
          <a:prstGeom prst="rect">
            <a:avLst/>
          </a:prstGeom>
          <a:solidFill>
            <a:schemeClr val="bg1"/>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latin typeface="Siemens Sans" pitchFamily="2" charset="0"/>
            </a:endParaRPr>
          </a:p>
        </p:txBody>
      </p:sp>
      <p:sp>
        <p:nvSpPr>
          <p:cNvPr id="1055" name="TextBox 1054">
            <a:extLst>
              <a:ext uri="{FF2B5EF4-FFF2-40B4-BE49-F238E27FC236}">
                <a16:creationId xmlns:a16="http://schemas.microsoft.com/office/drawing/2014/main" id="{D1F0EFEE-BAFA-4471-ACCB-A6F7E1FCE945}"/>
              </a:ext>
            </a:extLst>
          </p:cNvPr>
          <p:cNvSpPr txBox="1"/>
          <p:nvPr/>
        </p:nvSpPr>
        <p:spPr>
          <a:xfrm>
            <a:off x="9905102" y="1716511"/>
            <a:ext cx="1492465" cy="187424"/>
          </a:xfrm>
          <a:prstGeom prst="rect">
            <a:avLst/>
          </a:prstGeom>
          <a:noFill/>
        </p:spPr>
        <p:txBody>
          <a:bodyPr wrap="square" lIns="0" tIns="0" rIns="0" bIns="0" rtlCol="0">
            <a:spAutoFit/>
          </a:bodyPr>
          <a:lstStyle/>
          <a:p>
            <a:pPr>
              <a:lnSpc>
                <a:spcPct val="110000"/>
              </a:lnSpc>
              <a:spcBef>
                <a:spcPts val="0"/>
              </a:spcBef>
            </a:pPr>
            <a:r>
              <a:rPr lang="en-US" sz="1200">
                <a:solidFill>
                  <a:schemeClr val="tx1"/>
                </a:solidFill>
              </a:rPr>
              <a:t>Temperature Control</a:t>
            </a:r>
          </a:p>
        </p:txBody>
      </p:sp>
      <p:sp>
        <p:nvSpPr>
          <p:cNvPr id="272" name="TextBox 271">
            <a:extLst>
              <a:ext uri="{FF2B5EF4-FFF2-40B4-BE49-F238E27FC236}">
                <a16:creationId xmlns:a16="http://schemas.microsoft.com/office/drawing/2014/main" id="{6CF84B83-B4EF-4DD0-ADC9-8BEE9CF575A3}"/>
              </a:ext>
            </a:extLst>
          </p:cNvPr>
          <p:cNvSpPr txBox="1"/>
          <p:nvPr/>
        </p:nvSpPr>
        <p:spPr>
          <a:xfrm>
            <a:off x="9681868" y="1231377"/>
            <a:ext cx="1163251" cy="187424"/>
          </a:xfrm>
          <a:prstGeom prst="rect">
            <a:avLst/>
          </a:prstGeom>
          <a:noFill/>
        </p:spPr>
        <p:txBody>
          <a:bodyPr wrap="square" lIns="0" tIns="0" rIns="0" bIns="0" rtlCol="0">
            <a:spAutoFit/>
          </a:bodyPr>
          <a:lstStyle/>
          <a:p>
            <a:pPr>
              <a:lnSpc>
                <a:spcPct val="110000"/>
              </a:lnSpc>
              <a:spcBef>
                <a:spcPts val="0"/>
              </a:spcBef>
            </a:pPr>
            <a:r>
              <a:rPr lang="en-US" sz="1200">
                <a:solidFill>
                  <a:schemeClr val="tx1"/>
                </a:solidFill>
              </a:rPr>
              <a:t>Fan Control</a:t>
            </a:r>
          </a:p>
        </p:txBody>
      </p:sp>
      <p:sp>
        <p:nvSpPr>
          <p:cNvPr id="273" name="TextBox 272">
            <a:extLst>
              <a:ext uri="{FF2B5EF4-FFF2-40B4-BE49-F238E27FC236}">
                <a16:creationId xmlns:a16="http://schemas.microsoft.com/office/drawing/2014/main" id="{DBCE9F3F-0485-4094-AD9D-31B03C4A0045}"/>
              </a:ext>
            </a:extLst>
          </p:cNvPr>
          <p:cNvSpPr txBox="1"/>
          <p:nvPr/>
        </p:nvSpPr>
        <p:spPr>
          <a:xfrm>
            <a:off x="8424865" y="1592560"/>
            <a:ext cx="996546" cy="187424"/>
          </a:xfrm>
          <a:prstGeom prst="rect">
            <a:avLst/>
          </a:prstGeom>
          <a:noFill/>
        </p:spPr>
        <p:txBody>
          <a:bodyPr wrap="square" lIns="0" tIns="0" rIns="0" bIns="0" rtlCol="0">
            <a:spAutoFit/>
          </a:bodyPr>
          <a:lstStyle/>
          <a:p>
            <a:pPr>
              <a:lnSpc>
                <a:spcPct val="110000"/>
              </a:lnSpc>
              <a:spcBef>
                <a:spcPts val="0"/>
              </a:spcBef>
            </a:pPr>
            <a:r>
              <a:rPr lang="en-US" sz="1200">
                <a:solidFill>
                  <a:schemeClr val="tx1"/>
                </a:solidFill>
              </a:rPr>
              <a:t>Plant Control</a:t>
            </a:r>
          </a:p>
        </p:txBody>
      </p:sp>
      <p:sp>
        <p:nvSpPr>
          <p:cNvPr id="274" name="Rectangle 273">
            <a:hlinkClick r:id="" action="ppaction://noaction"/>
            <a:extLst>
              <a:ext uri="{FF2B5EF4-FFF2-40B4-BE49-F238E27FC236}">
                <a16:creationId xmlns:a16="http://schemas.microsoft.com/office/drawing/2014/main" id="{01B8BC2B-0A1D-4661-8080-F78B5F8B107C}"/>
              </a:ext>
            </a:extLst>
          </p:cNvPr>
          <p:cNvSpPr/>
          <p:nvPr/>
        </p:nvSpPr>
        <p:spPr bwMode="auto">
          <a:xfrm>
            <a:off x="12300" y="2425369"/>
            <a:ext cx="2147700" cy="218379"/>
          </a:xfrm>
          <a:prstGeom prst="rect">
            <a:avLst/>
          </a:prstGeom>
          <a:solidFill>
            <a:schemeClr val="bg1">
              <a:alpha val="0"/>
            </a:schemeClr>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129" name="Oval 128">
            <a:extLst>
              <a:ext uri="{FF2B5EF4-FFF2-40B4-BE49-F238E27FC236}">
                <a16:creationId xmlns:a16="http://schemas.microsoft.com/office/drawing/2014/main" id="{EEBFC678-4642-4482-A5E4-15B4F919CC01}"/>
              </a:ext>
            </a:extLst>
          </p:cNvPr>
          <p:cNvSpPr/>
          <p:nvPr/>
        </p:nvSpPr>
        <p:spPr bwMode="auto">
          <a:xfrm>
            <a:off x="7503904" y="2461643"/>
            <a:ext cx="409889" cy="409889"/>
          </a:xfrm>
          <a:prstGeom prst="ellipse">
            <a:avLst/>
          </a:prstGeom>
          <a:solidFill>
            <a:schemeClr val="bg1"/>
          </a:solidFill>
          <a:ln w="38100">
            <a:solidFill>
              <a:srgbClr val="4A6274"/>
            </a:solidFill>
          </a:ln>
          <a:effectLst/>
        </p:spPr>
        <p:txBody>
          <a:bodyPr wrap="square" lIns="0" tIns="0" rIns="0" bIns="0" numCol="1" spcCol="72000" rtlCol="0" anchor="ctr">
            <a:noAutofit/>
          </a:bodyPr>
          <a:lstStyle/>
          <a:p>
            <a:pPr>
              <a:lnSpc>
                <a:spcPct val="110000"/>
              </a:lnSpc>
              <a:spcBef>
                <a:spcPct val="0"/>
              </a:spcBef>
            </a:pPr>
            <a:r>
              <a:rPr lang="en-US" b="1">
                <a:solidFill>
                  <a:schemeClr val="tx1"/>
                </a:solidFill>
              </a:rPr>
              <a:t>T</a:t>
            </a:r>
          </a:p>
        </p:txBody>
      </p:sp>
      <p:cxnSp>
        <p:nvCxnSpPr>
          <p:cNvPr id="131" name="Straight Connector 130">
            <a:extLst>
              <a:ext uri="{FF2B5EF4-FFF2-40B4-BE49-F238E27FC236}">
                <a16:creationId xmlns:a16="http://schemas.microsoft.com/office/drawing/2014/main" id="{8D5EEAE2-FF34-41E1-891F-552DFA00C85E}"/>
              </a:ext>
            </a:extLst>
          </p:cNvPr>
          <p:cNvCxnSpPr>
            <a:cxnSpLocks/>
          </p:cNvCxnSpPr>
          <p:nvPr/>
        </p:nvCxnSpPr>
        <p:spPr bwMode="auto">
          <a:xfrm>
            <a:off x="7708736" y="2301159"/>
            <a:ext cx="113" cy="160484"/>
          </a:xfrm>
          <a:prstGeom prst="line">
            <a:avLst/>
          </a:prstGeom>
          <a:solidFill>
            <a:schemeClr val="bg1"/>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pic>
        <p:nvPicPr>
          <p:cNvPr id="6" name="Picture 5">
            <a:extLst>
              <a:ext uri="{FF2B5EF4-FFF2-40B4-BE49-F238E27FC236}">
                <a16:creationId xmlns:a16="http://schemas.microsoft.com/office/drawing/2014/main" id="{79037D49-C682-4EFB-99B6-9777C546A47A}"/>
              </a:ext>
            </a:extLst>
          </p:cNvPr>
          <p:cNvPicPr>
            <a:picLocks noChangeAspect="1"/>
          </p:cNvPicPr>
          <p:nvPr/>
        </p:nvPicPr>
        <p:blipFill>
          <a:blip r:embed="rId5"/>
          <a:stretch>
            <a:fillRect/>
          </a:stretch>
        </p:blipFill>
        <p:spPr>
          <a:xfrm>
            <a:off x="2514598" y="3641944"/>
            <a:ext cx="9122177" cy="3115498"/>
          </a:xfrm>
          <a:prstGeom prst="rect">
            <a:avLst/>
          </a:prstGeom>
        </p:spPr>
      </p:pic>
      <p:sp>
        <p:nvSpPr>
          <p:cNvPr id="136" name="TextBox 135">
            <a:extLst>
              <a:ext uri="{FF2B5EF4-FFF2-40B4-BE49-F238E27FC236}">
                <a16:creationId xmlns:a16="http://schemas.microsoft.com/office/drawing/2014/main" id="{EFAD489D-8113-4E8E-B678-ADB6866DC4BD}"/>
              </a:ext>
            </a:extLst>
          </p:cNvPr>
          <p:cNvSpPr txBox="1"/>
          <p:nvPr/>
        </p:nvSpPr>
        <p:spPr>
          <a:xfrm>
            <a:off x="10479264" y="1980414"/>
            <a:ext cx="977168" cy="187424"/>
          </a:xfrm>
          <a:prstGeom prst="rect">
            <a:avLst/>
          </a:prstGeom>
          <a:noFill/>
        </p:spPr>
        <p:txBody>
          <a:bodyPr wrap="square" lIns="0" tIns="0" rIns="0" bIns="0" rtlCol="0">
            <a:spAutoFit/>
          </a:bodyPr>
          <a:lstStyle/>
          <a:p>
            <a:pPr algn="l">
              <a:lnSpc>
                <a:spcPct val="110000"/>
              </a:lnSpc>
              <a:spcBef>
                <a:spcPts val="0"/>
              </a:spcBef>
            </a:pPr>
            <a:r>
              <a:rPr lang="en-US" sz="1200" b="1">
                <a:solidFill>
                  <a:schemeClr val="tx1"/>
                </a:solidFill>
              </a:rPr>
              <a:t>TsuSP/Tsu</a:t>
            </a:r>
          </a:p>
        </p:txBody>
      </p:sp>
      <p:sp>
        <p:nvSpPr>
          <p:cNvPr id="137" name="TextBox 136">
            <a:extLst>
              <a:ext uri="{FF2B5EF4-FFF2-40B4-BE49-F238E27FC236}">
                <a16:creationId xmlns:a16="http://schemas.microsoft.com/office/drawing/2014/main" id="{AFD8D3F5-9AAB-4277-8709-FA19C8C39AC1}"/>
              </a:ext>
            </a:extLst>
          </p:cNvPr>
          <p:cNvSpPr txBox="1"/>
          <p:nvPr/>
        </p:nvSpPr>
        <p:spPr>
          <a:xfrm>
            <a:off x="8908257" y="1963021"/>
            <a:ext cx="495622" cy="189329"/>
          </a:xfrm>
          <a:prstGeom prst="rect">
            <a:avLst/>
          </a:prstGeom>
          <a:noFill/>
        </p:spPr>
        <p:txBody>
          <a:bodyPr wrap="square" lIns="0" tIns="0" rIns="0" bIns="0" rtlCol="0">
            <a:spAutoFit/>
          </a:bodyPr>
          <a:lstStyle/>
          <a:p>
            <a:pPr algn="l">
              <a:lnSpc>
                <a:spcPct val="110000"/>
              </a:lnSpc>
              <a:spcBef>
                <a:spcPts val="0"/>
              </a:spcBef>
            </a:pPr>
            <a:r>
              <a:rPr lang="en-US" sz="1200" b="1" err="1">
                <a:solidFill>
                  <a:schemeClr val="tx1"/>
                </a:solidFill>
              </a:rPr>
              <a:t>Cvlv</a:t>
            </a:r>
            <a:endParaRPr lang="en-US" sz="1200" b="1">
              <a:solidFill>
                <a:schemeClr val="tx1"/>
              </a:solidFill>
            </a:endParaRPr>
          </a:p>
        </p:txBody>
      </p:sp>
      <p:sp>
        <p:nvSpPr>
          <p:cNvPr id="138" name="TextBox 137">
            <a:extLst>
              <a:ext uri="{FF2B5EF4-FFF2-40B4-BE49-F238E27FC236}">
                <a16:creationId xmlns:a16="http://schemas.microsoft.com/office/drawing/2014/main" id="{80CCCC6D-1ED5-40F1-92A1-A26C60CBD12D}"/>
              </a:ext>
            </a:extLst>
          </p:cNvPr>
          <p:cNvSpPr txBox="1"/>
          <p:nvPr/>
        </p:nvSpPr>
        <p:spPr>
          <a:xfrm>
            <a:off x="9414738" y="1964792"/>
            <a:ext cx="495622" cy="189329"/>
          </a:xfrm>
          <a:prstGeom prst="rect">
            <a:avLst/>
          </a:prstGeom>
          <a:noFill/>
        </p:spPr>
        <p:txBody>
          <a:bodyPr wrap="square" lIns="0" tIns="0" rIns="0" bIns="0" rtlCol="0">
            <a:spAutoFit/>
          </a:bodyPr>
          <a:lstStyle/>
          <a:p>
            <a:pPr algn="l">
              <a:lnSpc>
                <a:spcPct val="110000"/>
              </a:lnSpc>
              <a:spcBef>
                <a:spcPts val="0"/>
              </a:spcBef>
            </a:pPr>
            <a:r>
              <a:rPr lang="en-US" sz="1200" b="1" err="1">
                <a:solidFill>
                  <a:schemeClr val="tx1"/>
                </a:solidFill>
              </a:rPr>
              <a:t>Hvlv</a:t>
            </a:r>
            <a:endParaRPr lang="en-US" sz="1200" b="1">
              <a:solidFill>
                <a:schemeClr val="tx1"/>
              </a:solidFill>
            </a:endParaRPr>
          </a:p>
        </p:txBody>
      </p:sp>
      <p:sp>
        <p:nvSpPr>
          <p:cNvPr id="72" name="Textfeld 337">
            <a:extLst>
              <a:ext uri="{FF2B5EF4-FFF2-40B4-BE49-F238E27FC236}">
                <a16:creationId xmlns:a16="http://schemas.microsoft.com/office/drawing/2014/main" id="{70D28BDD-F294-439B-A4B2-7F2E39FE95BB}"/>
              </a:ext>
            </a:extLst>
          </p:cNvPr>
          <p:cNvSpPr txBox="1"/>
          <p:nvPr/>
        </p:nvSpPr>
        <p:spPr>
          <a:xfrm>
            <a:off x="-1" y="4413970"/>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Trend logging / Archive</a:t>
            </a:r>
            <a:endParaRPr lang="en-US" sz="1100" b="0" u="none" strike="noStrike" kern="1200" dirty="0">
              <a:effectLst/>
              <a:latin typeface="+mj-lt"/>
              <a:ea typeface="+mn-ea"/>
            </a:endParaRPr>
          </a:p>
        </p:txBody>
      </p:sp>
    </p:spTree>
    <p:extLst>
      <p:ext uri="{BB962C8B-B14F-4D97-AF65-F5344CB8AC3E}">
        <p14:creationId xmlns:p14="http://schemas.microsoft.com/office/powerpoint/2010/main" val="414949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dtText Box 4 Id114692">
            <a:extLst>
              <a:ext uri="{FF2B5EF4-FFF2-40B4-BE49-F238E27FC236}">
                <a16:creationId xmlns:a16="http://schemas.microsoft.com/office/drawing/2014/main" id="{78147749-85E7-4110-B55A-DB45D6D85C1A}"/>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Climatix HMI watch page creation</a:t>
            </a:r>
          </a:p>
        </p:txBody>
      </p:sp>
      <p:sp>
        <p:nvSpPr>
          <p:cNvPr id="12" name="Rectangle 11">
            <a:extLst>
              <a:ext uri="{FF2B5EF4-FFF2-40B4-BE49-F238E27FC236}">
                <a16:creationId xmlns:a16="http://schemas.microsoft.com/office/drawing/2014/main" id="{A4B2CF82-3A65-433D-BD22-7D52AEC002BE}"/>
              </a:ext>
            </a:extLst>
          </p:cNvPr>
          <p:cNvSpPr/>
          <p:nvPr/>
        </p:nvSpPr>
        <p:spPr bwMode="auto">
          <a:xfrm>
            <a:off x="10590307" y="53625"/>
            <a:ext cx="1411671" cy="334441"/>
          </a:xfrm>
          <a:prstGeom prst="rect">
            <a:avLst/>
          </a:prstGeom>
          <a:solidFill>
            <a:srgbClr val="92D050"/>
          </a:solidFill>
          <a:ln>
            <a:noFill/>
          </a:ln>
          <a:effectLst/>
        </p:spPr>
        <p:txBody>
          <a:bodyPr wrap="square" lIns="108000" tIns="54000" rIns="36000" bIns="54000" numCol="1" spcCol="72000" rtlCol="0" anchor="ctr">
            <a:noAutofit/>
          </a:bodyPr>
          <a:lstStyle/>
          <a:p>
            <a:pPr algn="l">
              <a:lnSpc>
                <a:spcPct val="110000"/>
              </a:lnSpc>
              <a:spcBef>
                <a:spcPct val="0"/>
              </a:spcBef>
            </a:pPr>
            <a:r>
              <a:rPr lang="en-US" b="1">
                <a:solidFill>
                  <a:schemeClr val="bg1"/>
                </a:solidFill>
              </a:rPr>
              <a:t>OK</a:t>
            </a:r>
          </a:p>
        </p:txBody>
      </p:sp>
      <p:pic>
        <p:nvPicPr>
          <p:cNvPr id="28" name="Picture 27">
            <a:extLst>
              <a:ext uri="{FF2B5EF4-FFF2-40B4-BE49-F238E27FC236}">
                <a16:creationId xmlns:a16="http://schemas.microsoft.com/office/drawing/2014/main" id="{1ACE2F9F-B6FA-44D7-99F0-75EF4ABDAC86}"/>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70582" y="289364"/>
            <a:ext cx="4025928" cy="2688160"/>
          </a:xfrm>
          <a:prstGeom prst="rect">
            <a:avLst/>
          </a:prstGeom>
        </p:spPr>
      </p:pic>
      <p:sp>
        <p:nvSpPr>
          <p:cNvPr id="30" name="cdtText Box 4 Id114692">
            <a:extLst>
              <a:ext uri="{FF2B5EF4-FFF2-40B4-BE49-F238E27FC236}">
                <a16:creationId xmlns:a16="http://schemas.microsoft.com/office/drawing/2014/main" id="{1188C648-6BAF-45F2-9DC8-CC5693773129}"/>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Exercises</a:t>
            </a:r>
          </a:p>
        </p:txBody>
      </p:sp>
      <p:grpSp>
        <p:nvGrpSpPr>
          <p:cNvPr id="2" name="Gruppieren 1">
            <a:extLst>
              <a:ext uri="{FF2B5EF4-FFF2-40B4-BE49-F238E27FC236}">
                <a16:creationId xmlns:a16="http://schemas.microsoft.com/office/drawing/2014/main" id="{9B39BEC7-0374-4F3F-9EE1-4E19F5872651}"/>
              </a:ext>
            </a:extLst>
          </p:cNvPr>
          <p:cNvGrpSpPr>
            <a:grpSpLocks noChangeAspect="1"/>
          </p:cNvGrpSpPr>
          <p:nvPr/>
        </p:nvGrpSpPr>
        <p:grpSpPr>
          <a:xfrm>
            <a:off x="8170582" y="3655884"/>
            <a:ext cx="3732927" cy="2418968"/>
            <a:chOff x="7503904" y="610105"/>
            <a:chExt cx="4493347" cy="2911726"/>
          </a:xfrm>
        </p:grpSpPr>
        <p:sp>
          <p:nvSpPr>
            <p:cNvPr id="40" name="Oval 39">
              <a:extLst>
                <a:ext uri="{FF2B5EF4-FFF2-40B4-BE49-F238E27FC236}">
                  <a16:creationId xmlns:a16="http://schemas.microsoft.com/office/drawing/2014/main" id="{2CE53672-8924-4875-92FB-AB4174AF7AEE}"/>
                </a:ext>
              </a:extLst>
            </p:cNvPr>
            <p:cNvSpPr/>
            <p:nvPr/>
          </p:nvSpPr>
          <p:spPr bwMode="auto">
            <a:xfrm>
              <a:off x="10651335" y="2497502"/>
              <a:ext cx="409889" cy="409889"/>
            </a:xfrm>
            <a:prstGeom prst="ellipse">
              <a:avLst/>
            </a:prstGeom>
            <a:solidFill>
              <a:schemeClr val="accent3"/>
            </a:solidFill>
            <a:ln w="38100">
              <a:solidFill>
                <a:srgbClr val="4A6274"/>
              </a:solidFill>
            </a:ln>
            <a:effectLst/>
          </p:spPr>
          <p:txBody>
            <a:bodyPr wrap="square" lIns="0" tIns="0" rIns="0" bIns="0" numCol="1" spcCol="72000" rtlCol="0" anchor="ctr">
              <a:noAutofit/>
            </a:bodyPr>
            <a:lstStyle/>
            <a:p>
              <a:pPr>
                <a:lnSpc>
                  <a:spcPct val="110000"/>
                </a:lnSpc>
                <a:spcBef>
                  <a:spcPct val="0"/>
                </a:spcBef>
              </a:pPr>
              <a:r>
                <a:rPr lang="en-US" b="1">
                  <a:solidFill>
                    <a:schemeClr val="tx1"/>
                  </a:solidFill>
                </a:rPr>
                <a:t>T</a:t>
              </a:r>
            </a:p>
          </p:txBody>
        </p:sp>
        <p:cxnSp>
          <p:nvCxnSpPr>
            <p:cNvPr id="42" name="Straight Connector 41">
              <a:extLst>
                <a:ext uri="{FF2B5EF4-FFF2-40B4-BE49-F238E27FC236}">
                  <a16:creationId xmlns:a16="http://schemas.microsoft.com/office/drawing/2014/main" id="{B6AD1BC8-1444-4B14-81A3-BACFAA761D93}"/>
                </a:ext>
              </a:extLst>
            </p:cNvPr>
            <p:cNvCxnSpPr/>
            <p:nvPr/>
          </p:nvCxnSpPr>
          <p:spPr bwMode="auto">
            <a:xfrm>
              <a:off x="7512570" y="2294237"/>
              <a:ext cx="3930717" cy="0"/>
            </a:xfrm>
            <a:prstGeom prst="line">
              <a:avLst/>
            </a:prstGeom>
            <a:solidFill>
              <a:schemeClr val="tx2"/>
            </a:solidFill>
            <a:ln w="76200" cap="flat" cmpd="sng" algn="ctr">
              <a:solidFill>
                <a:srgbClr val="0000C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3" name="Rectangle 42">
              <a:extLst>
                <a:ext uri="{FF2B5EF4-FFF2-40B4-BE49-F238E27FC236}">
                  <a16:creationId xmlns:a16="http://schemas.microsoft.com/office/drawing/2014/main" id="{7F2E00D5-9EC5-47B5-87A8-E9353C124C75}"/>
                </a:ext>
              </a:extLst>
            </p:cNvPr>
            <p:cNvSpPr/>
            <p:nvPr/>
          </p:nvSpPr>
          <p:spPr bwMode="auto">
            <a:xfrm rot="16200000">
              <a:off x="10669076" y="1395175"/>
              <a:ext cx="2113246" cy="543105"/>
            </a:xfrm>
            <a:prstGeom prst="rect">
              <a:avLst/>
            </a:prstGeom>
            <a:noFill/>
            <a:ln w="762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grpSp>
          <p:nvGrpSpPr>
            <p:cNvPr id="44" name="Group 43">
              <a:extLst>
                <a:ext uri="{FF2B5EF4-FFF2-40B4-BE49-F238E27FC236}">
                  <a16:creationId xmlns:a16="http://schemas.microsoft.com/office/drawing/2014/main" id="{824058ED-5D5A-4468-A05C-8B47D5EDF5F3}"/>
                </a:ext>
              </a:extLst>
            </p:cNvPr>
            <p:cNvGrpSpPr/>
            <p:nvPr/>
          </p:nvGrpSpPr>
          <p:grpSpPr>
            <a:xfrm rot="10800000">
              <a:off x="10976736" y="2150629"/>
              <a:ext cx="242736" cy="287214"/>
              <a:chOff x="8014831" y="4649229"/>
              <a:chExt cx="242736" cy="287214"/>
            </a:xfrm>
          </p:grpSpPr>
          <p:sp>
            <p:nvSpPr>
              <p:cNvPr id="45" name="Rectangle 44">
                <a:extLst>
                  <a:ext uri="{FF2B5EF4-FFF2-40B4-BE49-F238E27FC236}">
                    <a16:creationId xmlns:a16="http://schemas.microsoft.com/office/drawing/2014/main" id="{8E071CFC-0ADD-4244-A5EC-FD0771A37955}"/>
                  </a:ext>
                </a:extLst>
              </p:cNvPr>
              <p:cNvSpPr/>
              <p:nvPr/>
            </p:nvSpPr>
            <p:spPr bwMode="auto">
              <a:xfrm>
                <a:off x="8014831" y="4649229"/>
                <a:ext cx="242736" cy="287214"/>
              </a:xfrm>
              <a:prstGeom prst="rect">
                <a:avLst/>
              </a:prstGeom>
              <a:solidFill>
                <a:schemeClr val="bg1"/>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46" name="Isosceles Triangle 45">
                <a:extLst>
                  <a:ext uri="{FF2B5EF4-FFF2-40B4-BE49-F238E27FC236}">
                    <a16:creationId xmlns:a16="http://schemas.microsoft.com/office/drawing/2014/main" id="{1B9B6592-83B6-4846-BADD-6A0B8B2B3D29}"/>
                  </a:ext>
                </a:extLst>
              </p:cNvPr>
              <p:cNvSpPr/>
              <p:nvPr/>
            </p:nvSpPr>
            <p:spPr bwMode="auto">
              <a:xfrm rot="16200000">
                <a:off x="8032200" y="4698076"/>
                <a:ext cx="204692" cy="189521"/>
              </a:xfrm>
              <a:prstGeom prst="triangle">
                <a:avLst/>
              </a:prstGeom>
              <a:solidFill>
                <a:srgbClr val="0000CA"/>
              </a:solidFill>
              <a:ln w="25400">
                <a:no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grpSp>
        <p:cxnSp>
          <p:nvCxnSpPr>
            <p:cNvPr id="47" name="Straight Connector 46">
              <a:extLst>
                <a:ext uri="{FF2B5EF4-FFF2-40B4-BE49-F238E27FC236}">
                  <a16:creationId xmlns:a16="http://schemas.microsoft.com/office/drawing/2014/main" id="{04B8DD7D-0D12-4397-818E-BCC77E2F41C7}"/>
                </a:ext>
              </a:extLst>
            </p:cNvPr>
            <p:cNvCxnSpPr/>
            <p:nvPr/>
          </p:nvCxnSpPr>
          <p:spPr bwMode="auto">
            <a:xfrm>
              <a:off x="7512570" y="961213"/>
              <a:ext cx="3930717" cy="0"/>
            </a:xfrm>
            <a:prstGeom prst="line">
              <a:avLst/>
            </a:prstGeom>
            <a:solidFill>
              <a:schemeClr val="tx2"/>
            </a:solidFill>
            <a:ln w="76200" cap="flat" cmpd="sng" algn="ctr">
              <a:solidFill>
                <a:srgbClr val="0000C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8" name="Group 47">
              <a:extLst>
                <a:ext uri="{FF2B5EF4-FFF2-40B4-BE49-F238E27FC236}">
                  <a16:creationId xmlns:a16="http://schemas.microsoft.com/office/drawing/2014/main" id="{870AF27E-6CC3-4701-A688-1C0D81888521}"/>
                </a:ext>
              </a:extLst>
            </p:cNvPr>
            <p:cNvGrpSpPr/>
            <p:nvPr/>
          </p:nvGrpSpPr>
          <p:grpSpPr>
            <a:xfrm>
              <a:off x="10976736" y="817606"/>
              <a:ext cx="242736" cy="287214"/>
              <a:chOff x="8014831" y="4649229"/>
              <a:chExt cx="242736" cy="287214"/>
            </a:xfrm>
          </p:grpSpPr>
          <p:sp>
            <p:nvSpPr>
              <p:cNvPr id="49" name="Rectangle 48">
                <a:extLst>
                  <a:ext uri="{FF2B5EF4-FFF2-40B4-BE49-F238E27FC236}">
                    <a16:creationId xmlns:a16="http://schemas.microsoft.com/office/drawing/2014/main" id="{6DE01FD1-8CCD-42FE-B4EC-65DAEDCD3D02}"/>
                  </a:ext>
                </a:extLst>
              </p:cNvPr>
              <p:cNvSpPr/>
              <p:nvPr/>
            </p:nvSpPr>
            <p:spPr bwMode="auto">
              <a:xfrm>
                <a:off x="8014831" y="4649229"/>
                <a:ext cx="242736" cy="287214"/>
              </a:xfrm>
              <a:prstGeom prst="rect">
                <a:avLst/>
              </a:prstGeom>
              <a:solidFill>
                <a:schemeClr val="bg1"/>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50" name="Isosceles Triangle 49">
                <a:extLst>
                  <a:ext uri="{FF2B5EF4-FFF2-40B4-BE49-F238E27FC236}">
                    <a16:creationId xmlns:a16="http://schemas.microsoft.com/office/drawing/2014/main" id="{9AC1CE49-F9C8-4C12-B165-F36B422EA53E}"/>
                  </a:ext>
                </a:extLst>
              </p:cNvPr>
              <p:cNvSpPr/>
              <p:nvPr/>
            </p:nvSpPr>
            <p:spPr bwMode="auto">
              <a:xfrm rot="16200000">
                <a:off x="8032200" y="4698076"/>
                <a:ext cx="204692" cy="189521"/>
              </a:xfrm>
              <a:prstGeom prst="triangle">
                <a:avLst/>
              </a:prstGeom>
              <a:solidFill>
                <a:srgbClr val="0000CA"/>
              </a:solidFill>
              <a:ln w="25400">
                <a:no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grpSp>
        <p:grpSp>
          <p:nvGrpSpPr>
            <p:cNvPr id="51" name="Group 50">
              <a:extLst>
                <a:ext uri="{FF2B5EF4-FFF2-40B4-BE49-F238E27FC236}">
                  <a16:creationId xmlns:a16="http://schemas.microsoft.com/office/drawing/2014/main" id="{33824546-D721-4232-9443-B923B3771D74}"/>
                </a:ext>
              </a:extLst>
            </p:cNvPr>
            <p:cNvGrpSpPr/>
            <p:nvPr/>
          </p:nvGrpSpPr>
          <p:grpSpPr>
            <a:xfrm>
              <a:off x="8923215" y="2164503"/>
              <a:ext cx="301106" cy="522950"/>
              <a:chOff x="8723158" y="4646093"/>
              <a:chExt cx="301106" cy="522950"/>
            </a:xfrm>
          </p:grpSpPr>
          <p:grpSp>
            <p:nvGrpSpPr>
              <p:cNvPr id="52" name="Group 51">
                <a:extLst>
                  <a:ext uri="{FF2B5EF4-FFF2-40B4-BE49-F238E27FC236}">
                    <a16:creationId xmlns:a16="http://schemas.microsoft.com/office/drawing/2014/main" id="{0E6380E4-2B20-44D9-AEE3-C2D6E1A8A506}"/>
                  </a:ext>
                </a:extLst>
              </p:cNvPr>
              <p:cNvGrpSpPr/>
              <p:nvPr/>
            </p:nvGrpSpPr>
            <p:grpSpPr>
              <a:xfrm rot="16200000">
                <a:off x="8612236" y="4757015"/>
                <a:ext cx="522950" cy="301106"/>
                <a:chOff x="10997936" y="4512462"/>
                <a:chExt cx="215204" cy="382394"/>
              </a:xfrm>
              <a:solidFill>
                <a:schemeClr val="bg1"/>
              </a:solidFill>
            </p:grpSpPr>
            <p:sp>
              <p:nvSpPr>
                <p:cNvPr id="54" name="Rectangle 53">
                  <a:extLst>
                    <a:ext uri="{FF2B5EF4-FFF2-40B4-BE49-F238E27FC236}">
                      <a16:creationId xmlns:a16="http://schemas.microsoft.com/office/drawing/2014/main" id="{E6A55A22-07D7-4CBA-B1FE-321AD6C381FD}"/>
                    </a:ext>
                  </a:extLst>
                </p:cNvPr>
                <p:cNvSpPr/>
                <p:nvPr/>
              </p:nvSpPr>
              <p:spPr bwMode="auto">
                <a:xfrm>
                  <a:off x="10997936" y="4512464"/>
                  <a:ext cx="215204" cy="382392"/>
                </a:xfrm>
                <a:prstGeom prst="rect">
                  <a:avLst/>
                </a:prstGeom>
                <a:solidFill>
                  <a:schemeClr val="accent5">
                    <a:lumMod val="40000"/>
                    <a:lumOff val="60000"/>
                  </a:schemeClr>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cxnSp>
              <p:nvCxnSpPr>
                <p:cNvPr id="55" name="Straight Connector 54">
                  <a:extLst>
                    <a:ext uri="{FF2B5EF4-FFF2-40B4-BE49-F238E27FC236}">
                      <a16:creationId xmlns:a16="http://schemas.microsoft.com/office/drawing/2014/main" id="{D9F9700B-1A5F-41E5-A269-99B66A7D8456}"/>
                    </a:ext>
                  </a:extLst>
                </p:cNvPr>
                <p:cNvCxnSpPr>
                  <a:cxnSpLocks/>
                </p:cNvCxnSpPr>
                <p:nvPr/>
              </p:nvCxnSpPr>
              <p:spPr bwMode="auto">
                <a:xfrm rot="5400000" flipV="1">
                  <a:off x="10916690" y="4597287"/>
                  <a:ext cx="374874" cy="20522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6" name="Straight Connector 55">
                  <a:extLst>
                    <a:ext uri="{FF2B5EF4-FFF2-40B4-BE49-F238E27FC236}">
                      <a16:creationId xmlns:a16="http://schemas.microsoft.com/office/drawing/2014/main" id="{AE6EA885-7CED-47A7-A7F9-C6FA450D0191}"/>
                    </a:ext>
                  </a:extLst>
                </p:cNvPr>
                <p:cNvCxnSpPr>
                  <a:cxnSpLocks/>
                </p:cNvCxnSpPr>
                <p:nvPr/>
              </p:nvCxnSpPr>
              <p:spPr bwMode="auto">
                <a:xfrm flipH="1">
                  <a:off x="10997936" y="4512463"/>
                  <a:ext cx="215204" cy="37440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cxnSp>
            <p:nvCxnSpPr>
              <p:cNvPr id="53" name="Straight Connector 52">
                <a:extLst>
                  <a:ext uri="{FF2B5EF4-FFF2-40B4-BE49-F238E27FC236}">
                    <a16:creationId xmlns:a16="http://schemas.microsoft.com/office/drawing/2014/main" id="{C6698F83-EC0B-41D7-A617-E6AAA97DD8B1}"/>
                  </a:ext>
                </a:extLst>
              </p:cNvPr>
              <p:cNvCxnSpPr/>
              <p:nvPr/>
            </p:nvCxnSpPr>
            <p:spPr bwMode="auto">
              <a:xfrm flipH="1">
                <a:off x="8817859" y="4710977"/>
                <a:ext cx="110490" cy="0"/>
              </a:xfrm>
              <a:prstGeom prst="line">
                <a:avLst/>
              </a:prstGeom>
              <a:solidFill>
                <a:schemeClr val="bg1"/>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57" name="Group 56">
              <a:extLst>
                <a:ext uri="{FF2B5EF4-FFF2-40B4-BE49-F238E27FC236}">
                  <a16:creationId xmlns:a16="http://schemas.microsoft.com/office/drawing/2014/main" id="{A5BC467E-F1FC-4762-91BE-C74A45AC2F87}"/>
                </a:ext>
              </a:extLst>
            </p:cNvPr>
            <p:cNvGrpSpPr/>
            <p:nvPr/>
          </p:nvGrpSpPr>
          <p:grpSpPr>
            <a:xfrm>
              <a:off x="9420451" y="2156816"/>
              <a:ext cx="301106" cy="522950"/>
              <a:chOff x="9220394" y="4638406"/>
              <a:chExt cx="301106" cy="522950"/>
            </a:xfrm>
          </p:grpSpPr>
          <p:grpSp>
            <p:nvGrpSpPr>
              <p:cNvPr id="58" name="Group 57">
                <a:extLst>
                  <a:ext uri="{FF2B5EF4-FFF2-40B4-BE49-F238E27FC236}">
                    <a16:creationId xmlns:a16="http://schemas.microsoft.com/office/drawing/2014/main" id="{C40E5847-294F-413A-98EB-C4802FEEFEEC}"/>
                  </a:ext>
                </a:extLst>
              </p:cNvPr>
              <p:cNvGrpSpPr/>
              <p:nvPr/>
            </p:nvGrpSpPr>
            <p:grpSpPr>
              <a:xfrm rot="16200000">
                <a:off x="9109472" y="4749328"/>
                <a:ext cx="522950" cy="301106"/>
                <a:chOff x="10997936" y="4512462"/>
                <a:chExt cx="215204" cy="382394"/>
              </a:xfrm>
              <a:solidFill>
                <a:schemeClr val="bg1"/>
              </a:solidFill>
            </p:grpSpPr>
            <p:sp>
              <p:nvSpPr>
                <p:cNvPr id="62" name="Rectangle 61">
                  <a:extLst>
                    <a:ext uri="{FF2B5EF4-FFF2-40B4-BE49-F238E27FC236}">
                      <a16:creationId xmlns:a16="http://schemas.microsoft.com/office/drawing/2014/main" id="{02442D03-354F-4BEB-BEBA-270FB5396F19}"/>
                    </a:ext>
                  </a:extLst>
                </p:cNvPr>
                <p:cNvSpPr/>
                <p:nvPr/>
              </p:nvSpPr>
              <p:spPr bwMode="auto">
                <a:xfrm>
                  <a:off x="10997936" y="4512464"/>
                  <a:ext cx="215204" cy="382392"/>
                </a:xfrm>
                <a:prstGeom prst="rect">
                  <a:avLst/>
                </a:prstGeom>
                <a:solidFill>
                  <a:srgbClr val="FFFF00"/>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cxnSp>
              <p:nvCxnSpPr>
                <p:cNvPr id="63" name="Straight Connector 62">
                  <a:extLst>
                    <a:ext uri="{FF2B5EF4-FFF2-40B4-BE49-F238E27FC236}">
                      <a16:creationId xmlns:a16="http://schemas.microsoft.com/office/drawing/2014/main" id="{4677C7D5-6965-44EA-84D6-5483C86471CF}"/>
                    </a:ext>
                  </a:extLst>
                </p:cNvPr>
                <p:cNvCxnSpPr>
                  <a:cxnSpLocks/>
                </p:cNvCxnSpPr>
                <p:nvPr/>
              </p:nvCxnSpPr>
              <p:spPr bwMode="auto">
                <a:xfrm rot="5400000" flipV="1">
                  <a:off x="10916690" y="4597287"/>
                  <a:ext cx="374874" cy="20522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59" name="Group 58">
                <a:extLst>
                  <a:ext uri="{FF2B5EF4-FFF2-40B4-BE49-F238E27FC236}">
                    <a16:creationId xmlns:a16="http://schemas.microsoft.com/office/drawing/2014/main" id="{22FBC554-CD1C-4C0D-B10B-204BD991CFC2}"/>
                  </a:ext>
                </a:extLst>
              </p:cNvPr>
              <p:cNvGrpSpPr/>
              <p:nvPr/>
            </p:nvGrpSpPr>
            <p:grpSpPr>
              <a:xfrm>
                <a:off x="9303152" y="4665719"/>
                <a:ext cx="121539" cy="123044"/>
                <a:chOff x="5061585" y="2973937"/>
                <a:chExt cx="110490" cy="123044"/>
              </a:xfrm>
              <a:solidFill>
                <a:schemeClr val="bg1"/>
              </a:solidFill>
            </p:grpSpPr>
            <p:cxnSp>
              <p:nvCxnSpPr>
                <p:cNvPr id="60" name="Straight Connector 59">
                  <a:extLst>
                    <a:ext uri="{FF2B5EF4-FFF2-40B4-BE49-F238E27FC236}">
                      <a16:creationId xmlns:a16="http://schemas.microsoft.com/office/drawing/2014/main" id="{2AC00541-7C6F-4878-89C1-01A808744EAD}"/>
                    </a:ext>
                  </a:extLst>
                </p:cNvPr>
                <p:cNvCxnSpPr/>
                <p:nvPr/>
              </p:nvCxnSpPr>
              <p:spPr bwMode="auto">
                <a:xfrm>
                  <a:off x="5116830" y="2973937"/>
                  <a:ext cx="0" cy="12304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1" name="Straight Connector 60">
                  <a:extLst>
                    <a:ext uri="{FF2B5EF4-FFF2-40B4-BE49-F238E27FC236}">
                      <a16:creationId xmlns:a16="http://schemas.microsoft.com/office/drawing/2014/main" id="{248C68E0-A9E3-4C03-BA69-E90E616FF69A}"/>
                    </a:ext>
                  </a:extLst>
                </p:cNvPr>
                <p:cNvCxnSpPr/>
                <p:nvPr/>
              </p:nvCxnSpPr>
              <p:spPr bwMode="auto">
                <a:xfrm flipH="1">
                  <a:off x="5061585" y="3038720"/>
                  <a:ext cx="110490" cy="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nvGrpSpPr>
            <p:cNvPr id="64" name="Group 63">
              <a:extLst>
                <a:ext uri="{FF2B5EF4-FFF2-40B4-BE49-F238E27FC236}">
                  <a16:creationId xmlns:a16="http://schemas.microsoft.com/office/drawing/2014/main" id="{FF852F69-D8DE-42D3-A34F-BAA402291F79}"/>
                </a:ext>
              </a:extLst>
            </p:cNvPr>
            <p:cNvGrpSpPr/>
            <p:nvPr/>
          </p:nvGrpSpPr>
          <p:grpSpPr>
            <a:xfrm rot="16200000">
              <a:off x="8186000" y="2151116"/>
              <a:ext cx="522950" cy="301104"/>
              <a:chOff x="10997936" y="4512464"/>
              <a:chExt cx="215204" cy="382392"/>
            </a:xfrm>
            <a:solidFill>
              <a:schemeClr val="bg1"/>
            </a:solidFill>
          </p:grpSpPr>
          <p:sp>
            <p:nvSpPr>
              <p:cNvPr id="65" name="Rectangle 64">
                <a:extLst>
                  <a:ext uri="{FF2B5EF4-FFF2-40B4-BE49-F238E27FC236}">
                    <a16:creationId xmlns:a16="http://schemas.microsoft.com/office/drawing/2014/main" id="{871E0C33-09A8-4748-A921-5DBECDAD8A56}"/>
                  </a:ext>
                </a:extLst>
              </p:cNvPr>
              <p:cNvSpPr/>
              <p:nvPr/>
            </p:nvSpPr>
            <p:spPr bwMode="auto">
              <a:xfrm>
                <a:off x="10997936" y="4512464"/>
                <a:ext cx="215204" cy="382392"/>
              </a:xfrm>
              <a:prstGeom prst="rect">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cxnSp>
            <p:nvCxnSpPr>
              <p:cNvPr id="66" name="Straight Connector 65">
                <a:extLst>
                  <a:ext uri="{FF2B5EF4-FFF2-40B4-BE49-F238E27FC236}">
                    <a16:creationId xmlns:a16="http://schemas.microsoft.com/office/drawing/2014/main" id="{2F4B81BC-8DAE-4FCC-BB24-52B5082DCF89}"/>
                  </a:ext>
                </a:extLst>
              </p:cNvPr>
              <p:cNvCxnSpPr>
                <a:cxnSpLocks/>
                <a:stCxn id="65" idx="1"/>
                <a:endCxn id="65" idx="2"/>
              </p:cNvCxnSpPr>
              <p:nvPr/>
            </p:nvCxnSpPr>
            <p:spPr bwMode="auto">
              <a:xfrm rot="5400000" flipV="1">
                <a:off x="10956139" y="4745457"/>
                <a:ext cx="191196" cy="107602"/>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7" name="Straight Connector 66">
                <a:extLst>
                  <a:ext uri="{FF2B5EF4-FFF2-40B4-BE49-F238E27FC236}">
                    <a16:creationId xmlns:a16="http://schemas.microsoft.com/office/drawing/2014/main" id="{E476E88E-0A02-4717-8AD7-BF2895D7985A}"/>
                  </a:ext>
                </a:extLst>
              </p:cNvPr>
              <p:cNvCxnSpPr>
                <a:cxnSpLocks/>
                <a:stCxn id="65" idx="3"/>
                <a:endCxn id="65" idx="2"/>
              </p:cNvCxnSpPr>
              <p:nvPr/>
            </p:nvCxnSpPr>
            <p:spPr bwMode="auto">
              <a:xfrm rot="5400000">
                <a:off x="11063741" y="4745457"/>
                <a:ext cx="191196" cy="107602"/>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cxnSp>
          <p:nvCxnSpPr>
            <p:cNvPr id="68" name="Straight Connector 67">
              <a:extLst>
                <a:ext uri="{FF2B5EF4-FFF2-40B4-BE49-F238E27FC236}">
                  <a16:creationId xmlns:a16="http://schemas.microsoft.com/office/drawing/2014/main" id="{1586F229-52CF-441E-BAA0-2E4FB3A12DA7}"/>
                </a:ext>
              </a:extLst>
            </p:cNvPr>
            <p:cNvCxnSpPr/>
            <p:nvPr/>
          </p:nvCxnSpPr>
          <p:spPr bwMode="auto">
            <a:xfrm>
              <a:off x="8985026" y="2687453"/>
              <a:ext cx="13469" cy="834378"/>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Straight Connector 68">
              <a:extLst>
                <a:ext uri="{FF2B5EF4-FFF2-40B4-BE49-F238E27FC236}">
                  <a16:creationId xmlns:a16="http://schemas.microsoft.com/office/drawing/2014/main" id="{DE2F2A51-9851-42B2-B3FE-5E257D13D112}"/>
                </a:ext>
              </a:extLst>
            </p:cNvPr>
            <p:cNvCxnSpPr/>
            <p:nvPr/>
          </p:nvCxnSpPr>
          <p:spPr bwMode="auto">
            <a:xfrm>
              <a:off x="9163527" y="2687453"/>
              <a:ext cx="0" cy="834378"/>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70" name="Group 69">
              <a:extLst>
                <a:ext uri="{FF2B5EF4-FFF2-40B4-BE49-F238E27FC236}">
                  <a16:creationId xmlns:a16="http://schemas.microsoft.com/office/drawing/2014/main" id="{0CF82B51-0F0A-4CED-A8E5-9DCCC174B23F}"/>
                </a:ext>
              </a:extLst>
            </p:cNvPr>
            <p:cNvGrpSpPr/>
            <p:nvPr/>
          </p:nvGrpSpPr>
          <p:grpSpPr>
            <a:xfrm>
              <a:off x="8800312" y="2873856"/>
              <a:ext cx="297146" cy="180736"/>
              <a:chOff x="5911240" y="5012523"/>
              <a:chExt cx="620858" cy="377631"/>
            </a:xfrm>
          </p:grpSpPr>
          <p:cxnSp>
            <p:nvCxnSpPr>
              <p:cNvPr id="71" name="Straight Connector 70">
                <a:extLst>
                  <a:ext uri="{FF2B5EF4-FFF2-40B4-BE49-F238E27FC236}">
                    <a16:creationId xmlns:a16="http://schemas.microsoft.com/office/drawing/2014/main" id="{2EF356F4-1285-4004-AFEA-1737C05D8959}"/>
                  </a:ext>
                </a:extLst>
              </p:cNvPr>
              <p:cNvCxnSpPr>
                <a:cxnSpLocks/>
                <a:endCxn id="75" idx="6"/>
              </p:cNvCxnSpPr>
              <p:nvPr/>
            </p:nvCxnSpPr>
            <p:spPr bwMode="auto">
              <a:xfrm flipH="1">
                <a:off x="6158697" y="5205215"/>
                <a:ext cx="152236" cy="4203"/>
              </a:xfrm>
              <a:prstGeom prst="line">
                <a:avLst/>
              </a:prstGeom>
              <a:solidFill>
                <a:schemeClr val="tx2"/>
              </a:solidFill>
              <a:ln w="1905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2" name="Isosceles Triangle 71">
                <a:extLst>
                  <a:ext uri="{FF2B5EF4-FFF2-40B4-BE49-F238E27FC236}">
                    <a16:creationId xmlns:a16="http://schemas.microsoft.com/office/drawing/2014/main" id="{0FE00990-9A66-406A-BEDA-8E03A8F00585}"/>
                  </a:ext>
                </a:extLst>
              </p:cNvPr>
              <p:cNvSpPr/>
              <p:nvPr/>
            </p:nvSpPr>
            <p:spPr bwMode="auto">
              <a:xfrm rot="10800000">
                <a:off x="6181617" y="5012523"/>
                <a:ext cx="258631" cy="189521"/>
              </a:xfrm>
              <a:prstGeom prst="triangle">
                <a:avLst/>
              </a:prstGeom>
              <a:solidFill>
                <a:schemeClr val="bg2">
                  <a:lumMod val="50000"/>
                </a:schemeClr>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73" name="Isosceles Triangle 72">
                <a:extLst>
                  <a:ext uri="{FF2B5EF4-FFF2-40B4-BE49-F238E27FC236}">
                    <a16:creationId xmlns:a16="http://schemas.microsoft.com/office/drawing/2014/main" id="{8AF5D78E-A517-4B41-B9AC-0D7965ABB19D}"/>
                  </a:ext>
                </a:extLst>
              </p:cNvPr>
              <p:cNvSpPr/>
              <p:nvPr/>
            </p:nvSpPr>
            <p:spPr bwMode="auto">
              <a:xfrm>
                <a:off x="6181617" y="5200633"/>
                <a:ext cx="258631" cy="189521"/>
              </a:xfrm>
              <a:prstGeom prst="triangle">
                <a:avLst/>
              </a:prstGeom>
              <a:solidFill>
                <a:schemeClr val="bg1"/>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74" name="Isosceles Triangle 73">
                <a:extLst>
                  <a:ext uri="{FF2B5EF4-FFF2-40B4-BE49-F238E27FC236}">
                    <a16:creationId xmlns:a16="http://schemas.microsoft.com/office/drawing/2014/main" id="{D0ACCDB4-DC5E-4077-B7A7-6980E92C6C90}"/>
                  </a:ext>
                </a:extLst>
              </p:cNvPr>
              <p:cNvSpPr/>
              <p:nvPr/>
            </p:nvSpPr>
            <p:spPr bwMode="auto">
              <a:xfrm rot="16200000">
                <a:off x="6308022" y="5109070"/>
                <a:ext cx="258631" cy="189521"/>
              </a:xfrm>
              <a:prstGeom prst="triangle">
                <a:avLst/>
              </a:prstGeom>
              <a:solidFill>
                <a:schemeClr val="bg2">
                  <a:lumMod val="50000"/>
                </a:schemeClr>
              </a:solidFill>
              <a:ln w="19050">
                <a:solidFill>
                  <a:schemeClr val="bg2">
                    <a:lumMod val="50000"/>
                  </a:schemeClr>
                </a:solid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75" name="Oval 74">
                <a:extLst>
                  <a:ext uri="{FF2B5EF4-FFF2-40B4-BE49-F238E27FC236}">
                    <a16:creationId xmlns:a16="http://schemas.microsoft.com/office/drawing/2014/main" id="{48CAAEF0-E227-4B14-A455-88304431CF57}"/>
                  </a:ext>
                </a:extLst>
              </p:cNvPr>
              <p:cNvSpPr/>
              <p:nvPr/>
            </p:nvSpPr>
            <p:spPr bwMode="auto">
              <a:xfrm>
                <a:off x="5911240" y="5085689"/>
                <a:ext cx="247457" cy="247457"/>
              </a:xfrm>
              <a:prstGeom prst="ellipse">
                <a:avLst/>
              </a:prstGeom>
              <a:no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r>
                  <a:rPr lang="de-DE" sz="600">
                    <a:solidFill>
                      <a:schemeClr val="tx1"/>
                    </a:solidFill>
                    <a:latin typeface="+mn-lt"/>
                    <a:ea typeface="Arial Unicode MS" panose="020B0604020202020204" pitchFamily="34" charset="-128"/>
                    <a:cs typeface="Arial Unicode MS" panose="020B0604020202020204" pitchFamily="34" charset="-128"/>
                  </a:rPr>
                  <a:t>M</a:t>
                </a:r>
              </a:p>
            </p:txBody>
          </p:sp>
        </p:grpSp>
        <p:cxnSp>
          <p:nvCxnSpPr>
            <p:cNvPr id="76" name="Straight Connector 75">
              <a:extLst>
                <a:ext uri="{FF2B5EF4-FFF2-40B4-BE49-F238E27FC236}">
                  <a16:creationId xmlns:a16="http://schemas.microsoft.com/office/drawing/2014/main" id="{1379FE01-FF51-42D5-91EE-D8B40078A10C}"/>
                </a:ext>
              </a:extLst>
            </p:cNvPr>
            <p:cNvCxnSpPr/>
            <p:nvPr/>
          </p:nvCxnSpPr>
          <p:spPr bwMode="auto">
            <a:xfrm>
              <a:off x="9486994" y="2687453"/>
              <a:ext cx="13469" cy="834378"/>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Straight Connector 76">
              <a:extLst>
                <a:ext uri="{FF2B5EF4-FFF2-40B4-BE49-F238E27FC236}">
                  <a16:creationId xmlns:a16="http://schemas.microsoft.com/office/drawing/2014/main" id="{E94DDB47-0EF3-41FB-9C98-66718A6B2DF0}"/>
                </a:ext>
              </a:extLst>
            </p:cNvPr>
            <p:cNvCxnSpPr/>
            <p:nvPr/>
          </p:nvCxnSpPr>
          <p:spPr bwMode="auto">
            <a:xfrm>
              <a:off x="9665495" y="2687453"/>
              <a:ext cx="0" cy="834378"/>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78" name="Group 77">
              <a:extLst>
                <a:ext uri="{FF2B5EF4-FFF2-40B4-BE49-F238E27FC236}">
                  <a16:creationId xmlns:a16="http://schemas.microsoft.com/office/drawing/2014/main" id="{1711D912-0748-49B3-8E0C-832E323EB870}"/>
                </a:ext>
              </a:extLst>
            </p:cNvPr>
            <p:cNvGrpSpPr/>
            <p:nvPr/>
          </p:nvGrpSpPr>
          <p:grpSpPr>
            <a:xfrm>
              <a:off x="9302280" y="2873856"/>
              <a:ext cx="297146" cy="180736"/>
              <a:chOff x="5911240" y="5012523"/>
              <a:chExt cx="620858" cy="377631"/>
            </a:xfrm>
          </p:grpSpPr>
          <p:cxnSp>
            <p:nvCxnSpPr>
              <p:cNvPr id="79" name="Straight Connector 78">
                <a:extLst>
                  <a:ext uri="{FF2B5EF4-FFF2-40B4-BE49-F238E27FC236}">
                    <a16:creationId xmlns:a16="http://schemas.microsoft.com/office/drawing/2014/main" id="{4AEB5345-9B42-4EF8-930F-493FFFF70116}"/>
                  </a:ext>
                </a:extLst>
              </p:cNvPr>
              <p:cNvCxnSpPr>
                <a:cxnSpLocks/>
                <a:endCxn id="83" idx="6"/>
              </p:cNvCxnSpPr>
              <p:nvPr/>
            </p:nvCxnSpPr>
            <p:spPr bwMode="auto">
              <a:xfrm flipH="1">
                <a:off x="6158697" y="5205215"/>
                <a:ext cx="152236" cy="4203"/>
              </a:xfrm>
              <a:prstGeom prst="line">
                <a:avLst/>
              </a:prstGeom>
              <a:solidFill>
                <a:schemeClr val="tx2"/>
              </a:solidFill>
              <a:ln w="1905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0" name="Isosceles Triangle 79">
                <a:extLst>
                  <a:ext uri="{FF2B5EF4-FFF2-40B4-BE49-F238E27FC236}">
                    <a16:creationId xmlns:a16="http://schemas.microsoft.com/office/drawing/2014/main" id="{2283F714-9480-4BD6-B53A-D4120DC929BF}"/>
                  </a:ext>
                </a:extLst>
              </p:cNvPr>
              <p:cNvSpPr/>
              <p:nvPr/>
            </p:nvSpPr>
            <p:spPr bwMode="auto">
              <a:xfrm rot="10800000">
                <a:off x="6181617" y="5012523"/>
                <a:ext cx="258631" cy="189521"/>
              </a:xfrm>
              <a:prstGeom prst="triangle">
                <a:avLst/>
              </a:prstGeom>
              <a:solidFill>
                <a:schemeClr val="bg2">
                  <a:lumMod val="50000"/>
                </a:schemeClr>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81" name="Isosceles Triangle 80">
                <a:extLst>
                  <a:ext uri="{FF2B5EF4-FFF2-40B4-BE49-F238E27FC236}">
                    <a16:creationId xmlns:a16="http://schemas.microsoft.com/office/drawing/2014/main" id="{D3593E66-D92E-4C5C-A604-37A77AB63869}"/>
                  </a:ext>
                </a:extLst>
              </p:cNvPr>
              <p:cNvSpPr/>
              <p:nvPr/>
            </p:nvSpPr>
            <p:spPr bwMode="auto">
              <a:xfrm>
                <a:off x="6181617" y="5200633"/>
                <a:ext cx="258631" cy="189521"/>
              </a:xfrm>
              <a:prstGeom prst="triangle">
                <a:avLst/>
              </a:prstGeom>
              <a:solidFill>
                <a:schemeClr val="bg1"/>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82" name="Isosceles Triangle 81">
                <a:extLst>
                  <a:ext uri="{FF2B5EF4-FFF2-40B4-BE49-F238E27FC236}">
                    <a16:creationId xmlns:a16="http://schemas.microsoft.com/office/drawing/2014/main" id="{374F9427-060A-44FE-8CC9-69258BD4EDDA}"/>
                  </a:ext>
                </a:extLst>
              </p:cNvPr>
              <p:cNvSpPr/>
              <p:nvPr/>
            </p:nvSpPr>
            <p:spPr bwMode="auto">
              <a:xfrm rot="16200000">
                <a:off x="6308022" y="5109070"/>
                <a:ext cx="258631" cy="189521"/>
              </a:xfrm>
              <a:prstGeom prst="triangle">
                <a:avLst/>
              </a:prstGeom>
              <a:solidFill>
                <a:schemeClr val="bg2">
                  <a:lumMod val="50000"/>
                </a:schemeClr>
              </a:solidFill>
              <a:ln w="19050">
                <a:solidFill>
                  <a:schemeClr val="bg2">
                    <a:lumMod val="50000"/>
                  </a:schemeClr>
                </a:solid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83" name="Oval 82">
                <a:extLst>
                  <a:ext uri="{FF2B5EF4-FFF2-40B4-BE49-F238E27FC236}">
                    <a16:creationId xmlns:a16="http://schemas.microsoft.com/office/drawing/2014/main" id="{2CD091B9-8C96-4A22-BA67-1D80EE1D9E51}"/>
                  </a:ext>
                </a:extLst>
              </p:cNvPr>
              <p:cNvSpPr/>
              <p:nvPr/>
            </p:nvSpPr>
            <p:spPr bwMode="auto">
              <a:xfrm>
                <a:off x="5911240" y="5085689"/>
                <a:ext cx="247457" cy="247457"/>
              </a:xfrm>
              <a:prstGeom prst="ellipse">
                <a:avLst/>
              </a:prstGeom>
              <a:no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r>
                  <a:rPr lang="de-DE" sz="600">
                    <a:solidFill>
                      <a:schemeClr val="tx1"/>
                    </a:solidFill>
                    <a:latin typeface="+mn-lt"/>
                    <a:ea typeface="Arial Unicode MS" panose="020B0604020202020204" pitchFamily="34" charset="-128"/>
                    <a:cs typeface="Arial Unicode MS" panose="020B0604020202020204" pitchFamily="34" charset="-128"/>
                  </a:rPr>
                  <a:t>M</a:t>
                </a:r>
              </a:p>
            </p:txBody>
          </p:sp>
        </p:grpSp>
        <p:cxnSp>
          <p:nvCxnSpPr>
            <p:cNvPr id="84" name="Straight Connector 83">
              <a:extLst>
                <a:ext uri="{FF2B5EF4-FFF2-40B4-BE49-F238E27FC236}">
                  <a16:creationId xmlns:a16="http://schemas.microsoft.com/office/drawing/2014/main" id="{5379F343-6BEE-4862-B243-EAE311C6CA45}"/>
                </a:ext>
              </a:extLst>
            </p:cNvPr>
            <p:cNvCxnSpPr>
              <a:cxnSpLocks/>
              <a:endCxn id="40" idx="0"/>
            </p:cNvCxnSpPr>
            <p:nvPr/>
          </p:nvCxnSpPr>
          <p:spPr bwMode="auto">
            <a:xfrm>
              <a:off x="10856167" y="2337018"/>
              <a:ext cx="113" cy="160484"/>
            </a:xfrm>
            <a:prstGeom prst="line">
              <a:avLst/>
            </a:prstGeom>
            <a:solidFill>
              <a:schemeClr val="bg1"/>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85" name="Oval 84">
              <a:extLst>
                <a:ext uri="{FF2B5EF4-FFF2-40B4-BE49-F238E27FC236}">
                  <a16:creationId xmlns:a16="http://schemas.microsoft.com/office/drawing/2014/main" id="{9CD2A916-32D2-470E-BA9D-27137E464CA5}"/>
                </a:ext>
              </a:extLst>
            </p:cNvPr>
            <p:cNvSpPr/>
            <p:nvPr/>
          </p:nvSpPr>
          <p:spPr bwMode="auto">
            <a:xfrm>
              <a:off x="11520754" y="1389800"/>
              <a:ext cx="409889" cy="409889"/>
            </a:xfrm>
            <a:prstGeom prst="ellipse">
              <a:avLst/>
            </a:prstGeom>
            <a:solidFill>
              <a:schemeClr val="bg1"/>
            </a:solidFill>
            <a:ln w="38100">
              <a:solidFill>
                <a:srgbClr val="4A6274"/>
              </a:solidFill>
            </a:ln>
            <a:effectLst/>
          </p:spPr>
          <p:txBody>
            <a:bodyPr wrap="square" lIns="0" tIns="0" rIns="0" bIns="0" numCol="1" spcCol="72000" rtlCol="0" anchor="ctr">
              <a:noAutofit/>
            </a:bodyPr>
            <a:lstStyle/>
            <a:p>
              <a:pPr>
                <a:lnSpc>
                  <a:spcPct val="110000"/>
                </a:lnSpc>
                <a:spcBef>
                  <a:spcPct val="0"/>
                </a:spcBef>
              </a:pPr>
              <a:r>
                <a:rPr lang="en-US" b="1">
                  <a:solidFill>
                    <a:schemeClr val="tx1"/>
                  </a:solidFill>
                </a:rPr>
                <a:t>T</a:t>
              </a:r>
            </a:p>
          </p:txBody>
        </p:sp>
        <p:grpSp>
          <p:nvGrpSpPr>
            <p:cNvPr id="86" name="Group 85">
              <a:extLst>
                <a:ext uri="{FF2B5EF4-FFF2-40B4-BE49-F238E27FC236}">
                  <a16:creationId xmlns:a16="http://schemas.microsoft.com/office/drawing/2014/main" id="{63CA0D28-DE80-4B0C-9947-7BC600EE6E20}"/>
                </a:ext>
              </a:extLst>
            </p:cNvPr>
            <p:cNvGrpSpPr/>
            <p:nvPr/>
          </p:nvGrpSpPr>
          <p:grpSpPr>
            <a:xfrm>
              <a:off x="9969973" y="2124669"/>
              <a:ext cx="333525" cy="331239"/>
              <a:chOff x="7170823" y="2963575"/>
              <a:chExt cx="479658" cy="476370"/>
            </a:xfrm>
            <a:solidFill>
              <a:schemeClr val="bg1"/>
            </a:solidFill>
          </p:grpSpPr>
          <p:sp>
            <p:nvSpPr>
              <p:cNvPr id="87" name="Oval 86">
                <a:extLst>
                  <a:ext uri="{FF2B5EF4-FFF2-40B4-BE49-F238E27FC236}">
                    <a16:creationId xmlns:a16="http://schemas.microsoft.com/office/drawing/2014/main" id="{6536D23A-C25A-4423-9BC9-F5BD2A738463}"/>
                  </a:ext>
                </a:extLst>
              </p:cNvPr>
              <p:cNvSpPr/>
              <p:nvPr/>
            </p:nvSpPr>
            <p:spPr bwMode="auto">
              <a:xfrm>
                <a:off x="7170823" y="2963575"/>
                <a:ext cx="476370" cy="476370"/>
              </a:xfrm>
              <a:prstGeom prst="ellips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nSpc>
                    <a:spcPct val="110000"/>
                  </a:lnSpc>
                  <a:spcBef>
                    <a:spcPct val="0"/>
                  </a:spcBef>
                </a:pPr>
                <a:endParaRPr lang="en-US" b="1">
                  <a:solidFill>
                    <a:schemeClr val="bg1"/>
                  </a:solidFill>
                </a:endParaRPr>
              </a:p>
            </p:txBody>
          </p:sp>
          <p:cxnSp>
            <p:nvCxnSpPr>
              <p:cNvPr id="88" name="Straight Connector 87">
                <a:extLst>
                  <a:ext uri="{FF2B5EF4-FFF2-40B4-BE49-F238E27FC236}">
                    <a16:creationId xmlns:a16="http://schemas.microsoft.com/office/drawing/2014/main" id="{B0F368AC-DADD-418A-9DFA-7B75FE741149}"/>
                  </a:ext>
                </a:extLst>
              </p:cNvPr>
              <p:cNvCxnSpPr>
                <a:endCxn id="87" idx="1"/>
              </p:cNvCxnSpPr>
              <p:nvPr/>
            </p:nvCxnSpPr>
            <p:spPr bwMode="auto">
              <a:xfrm flipH="1" flipV="1">
                <a:off x="7240590" y="3033336"/>
                <a:ext cx="409891" cy="12134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89" name="Straight Connector 88">
                <a:extLst>
                  <a:ext uri="{FF2B5EF4-FFF2-40B4-BE49-F238E27FC236}">
                    <a16:creationId xmlns:a16="http://schemas.microsoft.com/office/drawing/2014/main" id="{4EEF7888-1127-49AA-8EA0-D91A97CC6B97}"/>
                  </a:ext>
                </a:extLst>
              </p:cNvPr>
              <p:cNvCxnSpPr>
                <a:endCxn id="87" idx="3"/>
              </p:cNvCxnSpPr>
              <p:nvPr/>
            </p:nvCxnSpPr>
            <p:spPr bwMode="auto">
              <a:xfrm flipH="1">
                <a:off x="7240590" y="3257550"/>
                <a:ext cx="409890" cy="11263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90" name="Group 89">
              <a:extLst>
                <a:ext uri="{FF2B5EF4-FFF2-40B4-BE49-F238E27FC236}">
                  <a16:creationId xmlns:a16="http://schemas.microsoft.com/office/drawing/2014/main" id="{E59E5B2D-AFC6-4810-983A-D2DBF60A4889}"/>
                </a:ext>
              </a:extLst>
            </p:cNvPr>
            <p:cNvGrpSpPr/>
            <p:nvPr/>
          </p:nvGrpSpPr>
          <p:grpSpPr>
            <a:xfrm rot="10800000">
              <a:off x="10099512" y="801351"/>
              <a:ext cx="333522" cy="331239"/>
              <a:chOff x="7170827" y="2963573"/>
              <a:chExt cx="479654" cy="476370"/>
            </a:xfrm>
            <a:solidFill>
              <a:schemeClr val="bg1"/>
            </a:solidFill>
          </p:grpSpPr>
          <p:sp>
            <p:nvSpPr>
              <p:cNvPr id="91" name="Oval 90">
                <a:extLst>
                  <a:ext uri="{FF2B5EF4-FFF2-40B4-BE49-F238E27FC236}">
                    <a16:creationId xmlns:a16="http://schemas.microsoft.com/office/drawing/2014/main" id="{36C84D6C-AF3A-44AB-B5FC-711B1EA2C9E4}"/>
                  </a:ext>
                </a:extLst>
              </p:cNvPr>
              <p:cNvSpPr/>
              <p:nvPr/>
            </p:nvSpPr>
            <p:spPr bwMode="auto">
              <a:xfrm>
                <a:off x="7170827" y="2963573"/>
                <a:ext cx="476370" cy="476370"/>
              </a:xfrm>
              <a:prstGeom prst="ellips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nSpc>
                    <a:spcPct val="110000"/>
                  </a:lnSpc>
                  <a:spcBef>
                    <a:spcPct val="0"/>
                  </a:spcBef>
                </a:pPr>
                <a:endParaRPr lang="en-US" b="1">
                  <a:solidFill>
                    <a:schemeClr val="bg1"/>
                  </a:solidFill>
                </a:endParaRPr>
              </a:p>
            </p:txBody>
          </p:sp>
          <p:cxnSp>
            <p:nvCxnSpPr>
              <p:cNvPr id="92" name="Straight Connector 91">
                <a:extLst>
                  <a:ext uri="{FF2B5EF4-FFF2-40B4-BE49-F238E27FC236}">
                    <a16:creationId xmlns:a16="http://schemas.microsoft.com/office/drawing/2014/main" id="{ECF6A5A8-9190-4977-8E91-2416D2A1B927}"/>
                  </a:ext>
                </a:extLst>
              </p:cNvPr>
              <p:cNvCxnSpPr>
                <a:endCxn id="91" idx="1"/>
              </p:cNvCxnSpPr>
              <p:nvPr/>
            </p:nvCxnSpPr>
            <p:spPr bwMode="auto">
              <a:xfrm flipH="1" flipV="1">
                <a:off x="7240590" y="3033336"/>
                <a:ext cx="409891" cy="12134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3" name="Straight Connector 92">
                <a:extLst>
                  <a:ext uri="{FF2B5EF4-FFF2-40B4-BE49-F238E27FC236}">
                    <a16:creationId xmlns:a16="http://schemas.microsoft.com/office/drawing/2014/main" id="{4C7660F4-2DEA-4055-B66C-FC0F70A757C0}"/>
                  </a:ext>
                </a:extLst>
              </p:cNvPr>
              <p:cNvCxnSpPr>
                <a:endCxn id="91" idx="3"/>
              </p:cNvCxnSpPr>
              <p:nvPr/>
            </p:nvCxnSpPr>
            <p:spPr bwMode="auto">
              <a:xfrm flipH="1">
                <a:off x="7240590" y="3257550"/>
                <a:ext cx="409890" cy="11263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94" name="TextBox 93">
              <a:extLst>
                <a:ext uri="{FF2B5EF4-FFF2-40B4-BE49-F238E27FC236}">
                  <a16:creationId xmlns:a16="http://schemas.microsoft.com/office/drawing/2014/main" id="{B8F23A14-DD5E-4D5B-8114-1AA9296A246C}"/>
                </a:ext>
              </a:extLst>
            </p:cNvPr>
            <p:cNvSpPr txBox="1"/>
            <p:nvPr/>
          </p:nvSpPr>
          <p:spPr>
            <a:xfrm>
              <a:off x="9486994" y="1716511"/>
              <a:ext cx="1910573" cy="225603"/>
            </a:xfrm>
            <a:prstGeom prst="rect">
              <a:avLst/>
            </a:prstGeom>
            <a:noFill/>
          </p:spPr>
          <p:txBody>
            <a:bodyPr wrap="square" lIns="0" tIns="0" rIns="0" bIns="0" rtlCol="0">
              <a:spAutoFit/>
            </a:bodyPr>
            <a:lstStyle/>
            <a:p>
              <a:pPr>
                <a:lnSpc>
                  <a:spcPct val="110000"/>
                </a:lnSpc>
                <a:spcBef>
                  <a:spcPts val="0"/>
                </a:spcBef>
              </a:pPr>
              <a:r>
                <a:rPr lang="en-US" sz="1200" dirty="0">
                  <a:solidFill>
                    <a:schemeClr val="tx1"/>
                  </a:solidFill>
                </a:rPr>
                <a:t>Temperature Control</a:t>
              </a:r>
            </a:p>
          </p:txBody>
        </p:sp>
        <p:sp>
          <p:nvSpPr>
            <p:cNvPr id="95" name="TextBox 94">
              <a:extLst>
                <a:ext uri="{FF2B5EF4-FFF2-40B4-BE49-F238E27FC236}">
                  <a16:creationId xmlns:a16="http://schemas.microsoft.com/office/drawing/2014/main" id="{EE733D43-C7C9-4C94-A443-61FB5D0F1443}"/>
                </a:ext>
              </a:extLst>
            </p:cNvPr>
            <p:cNvSpPr txBox="1"/>
            <p:nvPr/>
          </p:nvSpPr>
          <p:spPr>
            <a:xfrm>
              <a:off x="9681868" y="1231377"/>
              <a:ext cx="1163251" cy="187424"/>
            </a:xfrm>
            <a:prstGeom prst="rect">
              <a:avLst/>
            </a:prstGeom>
            <a:noFill/>
          </p:spPr>
          <p:txBody>
            <a:bodyPr wrap="square" lIns="0" tIns="0" rIns="0" bIns="0" rtlCol="0">
              <a:spAutoFit/>
            </a:bodyPr>
            <a:lstStyle/>
            <a:p>
              <a:pPr>
                <a:lnSpc>
                  <a:spcPct val="110000"/>
                </a:lnSpc>
                <a:spcBef>
                  <a:spcPts val="0"/>
                </a:spcBef>
              </a:pPr>
              <a:r>
                <a:rPr lang="en-US" sz="1200">
                  <a:solidFill>
                    <a:schemeClr val="tx1"/>
                  </a:solidFill>
                </a:rPr>
                <a:t>Fan Control</a:t>
              </a:r>
            </a:p>
          </p:txBody>
        </p:sp>
        <p:sp>
          <p:nvSpPr>
            <p:cNvPr id="96" name="TextBox 95">
              <a:extLst>
                <a:ext uri="{FF2B5EF4-FFF2-40B4-BE49-F238E27FC236}">
                  <a16:creationId xmlns:a16="http://schemas.microsoft.com/office/drawing/2014/main" id="{FE0122C7-D966-4760-A6CE-7A3C14FAF87D}"/>
                </a:ext>
              </a:extLst>
            </p:cNvPr>
            <p:cNvSpPr txBox="1"/>
            <p:nvPr/>
          </p:nvSpPr>
          <p:spPr>
            <a:xfrm>
              <a:off x="8076647" y="1592560"/>
              <a:ext cx="1344765" cy="225603"/>
            </a:xfrm>
            <a:prstGeom prst="rect">
              <a:avLst/>
            </a:prstGeom>
            <a:noFill/>
          </p:spPr>
          <p:txBody>
            <a:bodyPr wrap="square" lIns="0" tIns="0" rIns="0" bIns="0" rtlCol="0">
              <a:spAutoFit/>
            </a:bodyPr>
            <a:lstStyle/>
            <a:p>
              <a:pPr>
                <a:lnSpc>
                  <a:spcPct val="110000"/>
                </a:lnSpc>
                <a:spcBef>
                  <a:spcPts val="0"/>
                </a:spcBef>
              </a:pPr>
              <a:r>
                <a:rPr lang="en-US" sz="1200" dirty="0">
                  <a:solidFill>
                    <a:schemeClr val="tx1"/>
                  </a:solidFill>
                </a:rPr>
                <a:t>Plant Control</a:t>
              </a:r>
            </a:p>
          </p:txBody>
        </p:sp>
        <p:sp>
          <p:nvSpPr>
            <p:cNvPr id="97" name="Oval 96">
              <a:extLst>
                <a:ext uri="{FF2B5EF4-FFF2-40B4-BE49-F238E27FC236}">
                  <a16:creationId xmlns:a16="http://schemas.microsoft.com/office/drawing/2014/main" id="{4DC062BF-E375-4D7A-BB28-591570B8604D}"/>
                </a:ext>
              </a:extLst>
            </p:cNvPr>
            <p:cNvSpPr/>
            <p:nvPr/>
          </p:nvSpPr>
          <p:spPr bwMode="auto">
            <a:xfrm>
              <a:off x="7503904" y="2461643"/>
              <a:ext cx="409889" cy="409889"/>
            </a:xfrm>
            <a:prstGeom prst="ellipse">
              <a:avLst/>
            </a:prstGeom>
            <a:solidFill>
              <a:schemeClr val="bg1"/>
            </a:solidFill>
            <a:ln w="38100">
              <a:solidFill>
                <a:srgbClr val="4A6274"/>
              </a:solidFill>
            </a:ln>
            <a:effectLst/>
          </p:spPr>
          <p:txBody>
            <a:bodyPr wrap="square" lIns="0" tIns="0" rIns="0" bIns="0" numCol="1" spcCol="72000" rtlCol="0" anchor="ctr">
              <a:noAutofit/>
            </a:bodyPr>
            <a:lstStyle/>
            <a:p>
              <a:pPr>
                <a:lnSpc>
                  <a:spcPct val="110000"/>
                </a:lnSpc>
                <a:spcBef>
                  <a:spcPct val="0"/>
                </a:spcBef>
              </a:pPr>
              <a:r>
                <a:rPr lang="en-US" b="1">
                  <a:solidFill>
                    <a:schemeClr val="tx1"/>
                  </a:solidFill>
                </a:rPr>
                <a:t>T</a:t>
              </a:r>
            </a:p>
          </p:txBody>
        </p:sp>
        <p:cxnSp>
          <p:nvCxnSpPr>
            <p:cNvPr id="98" name="Straight Connector 97">
              <a:extLst>
                <a:ext uri="{FF2B5EF4-FFF2-40B4-BE49-F238E27FC236}">
                  <a16:creationId xmlns:a16="http://schemas.microsoft.com/office/drawing/2014/main" id="{04F2575E-3FA9-4618-9282-D10A4F06365D}"/>
                </a:ext>
              </a:extLst>
            </p:cNvPr>
            <p:cNvCxnSpPr>
              <a:cxnSpLocks/>
            </p:cNvCxnSpPr>
            <p:nvPr/>
          </p:nvCxnSpPr>
          <p:spPr bwMode="auto">
            <a:xfrm>
              <a:off x="7708736" y="2301159"/>
              <a:ext cx="113" cy="160484"/>
            </a:xfrm>
            <a:prstGeom prst="line">
              <a:avLst/>
            </a:prstGeom>
            <a:solidFill>
              <a:schemeClr val="bg1"/>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99" name="TextBox 98">
              <a:extLst>
                <a:ext uri="{FF2B5EF4-FFF2-40B4-BE49-F238E27FC236}">
                  <a16:creationId xmlns:a16="http://schemas.microsoft.com/office/drawing/2014/main" id="{B838206D-CC08-4AD8-B86F-4B21014AA281}"/>
                </a:ext>
              </a:extLst>
            </p:cNvPr>
            <p:cNvSpPr txBox="1"/>
            <p:nvPr/>
          </p:nvSpPr>
          <p:spPr>
            <a:xfrm>
              <a:off x="10388350" y="1961686"/>
              <a:ext cx="977167" cy="187424"/>
            </a:xfrm>
            <a:prstGeom prst="rect">
              <a:avLst/>
            </a:prstGeom>
            <a:noFill/>
          </p:spPr>
          <p:txBody>
            <a:bodyPr wrap="square" lIns="0" tIns="0" rIns="0" bIns="0" rtlCol="0">
              <a:spAutoFit/>
            </a:bodyPr>
            <a:lstStyle/>
            <a:p>
              <a:pPr algn="l">
                <a:lnSpc>
                  <a:spcPct val="110000"/>
                </a:lnSpc>
                <a:spcBef>
                  <a:spcPts val="0"/>
                </a:spcBef>
              </a:pPr>
              <a:r>
                <a:rPr lang="en-US" sz="1200" b="1" dirty="0">
                  <a:solidFill>
                    <a:schemeClr val="tx1"/>
                  </a:solidFill>
                </a:rPr>
                <a:t>TsuSP/Tsu</a:t>
              </a:r>
            </a:p>
          </p:txBody>
        </p:sp>
        <p:sp>
          <p:nvSpPr>
            <p:cNvPr id="100" name="TextBox 99">
              <a:extLst>
                <a:ext uri="{FF2B5EF4-FFF2-40B4-BE49-F238E27FC236}">
                  <a16:creationId xmlns:a16="http://schemas.microsoft.com/office/drawing/2014/main" id="{FBD44D56-396D-4DF5-9B5A-1B04CDF37451}"/>
                </a:ext>
              </a:extLst>
            </p:cNvPr>
            <p:cNvSpPr txBox="1"/>
            <p:nvPr/>
          </p:nvSpPr>
          <p:spPr>
            <a:xfrm>
              <a:off x="8886758" y="1922892"/>
              <a:ext cx="495622" cy="189328"/>
            </a:xfrm>
            <a:prstGeom prst="rect">
              <a:avLst/>
            </a:prstGeom>
            <a:noFill/>
          </p:spPr>
          <p:txBody>
            <a:bodyPr wrap="square" lIns="0" tIns="0" rIns="0" bIns="0" rtlCol="0">
              <a:spAutoFit/>
            </a:bodyPr>
            <a:lstStyle/>
            <a:p>
              <a:pPr algn="l">
                <a:lnSpc>
                  <a:spcPct val="110000"/>
                </a:lnSpc>
                <a:spcBef>
                  <a:spcPts val="0"/>
                </a:spcBef>
              </a:pPr>
              <a:r>
                <a:rPr lang="en-US" sz="1200" b="1" err="1">
                  <a:solidFill>
                    <a:schemeClr val="tx1"/>
                  </a:solidFill>
                </a:rPr>
                <a:t>Cvlv</a:t>
              </a:r>
              <a:endParaRPr lang="en-US" sz="1200" b="1">
                <a:solidFill>
                  <a:schemeClr val="tx1"/>
                </a:solidFill>
              </a:endParaRPr>
            </a:p>
          </p:txBody>
        </p:sp>
        <p:sp>
          <p:nvSpPr>
            <p:cNvPr id="101" name="TextBox 100">
              <a:extLst>
                <a:ext uri="{FF2B5EF4-FFF2-40B4-BE49-F238E27FC236}">
                  <a16:creationId xmlns:a16="http://schemas.microsoft.com/office/drawing/2014/main" id="{0F3842CB-B415-4DEA-918B-2B4CAF9E024D}"/>
                </a:ext>
              </a:extLst>
            </p:cNvPr>
            <p:cNvSpPr txBox="1"/>
            <p:nvPr/>
          </p:nvSpPr>
          <p:spPr>
            <a:xfrm>
              <a:off x="9393239" y="1924663"/>
              <a:ext cx="495622" cy="189328"/>
            </a:xfrm>
            <a:prstGeom prst="rect">
              <a:avLst/>
            </a:prstGeom>
            <a:noFill/>
          </p:spPr>
          <p:txBody>
            <a:bodyPr wrap="square" lIns="0" tIns="0" rIns="0" bIns="0" rtlCol="0">
              <a:spAutoFit/>
            </a:bodyPr>
            <a:lstStyle/>
            <a:p>
              <a:pPr algn="l">
                <a:lnSpc>
                  <a:spcPct val="110000"/>
                </a:lnSpc>
                <a:spcBef>
                  <a:spcPts val="0"/>
                </a:spcBef>
              </a:pPr>
              <a:r>
                <a:rPr lang="en-US" sz="1200" b="1" dirty="0" err="1">
                  <a:solidFill>
                    <a:schemeClr val="tx1"/>
                  </a:solidFill>
                </a:rPr>
                <a:t>Hvlv</a:t>
              </a:r>
              <a:endParaRPr lang="en-US" sz="1200" b="1" dirty="0">
                <a:solidFill>
                  <a:schemeClr val="tx1"/>
                </a:solidFill>
              </a:endParaRPr>
            </a:p>
          </p:txBody>
        </p:sp>
      </p:grpSp>
      <p:sp>
        <p:nvSpPr>
          <p:cNvPr id="102" name="TextBox 19">
            <a:extLst>
              <a:ext uri="{FF2B5EF4-FFF2-40B4-BE49-F238E27FC236}">
                <a16:creationId xmlns:a16="http://schemas.microsoft.com/office/drawing/2014/main" id="{7272B434-DFF7-4365-9052-ECBE573978BD}"/>
              </a:ext>
            </a:extLst>
          </p:cNvPr>
          <p:cNvSpPr txBox="1"/>
          <p:nvPr/>
        </p:nvSpPr>
        <p:spPr>
          <a:xfrm>
            <a:off x="2283047" y="611775"/>
            <a:ext cx="6099328" cy="2339382"/>
          </a:xfrm>
          <a:prstGeom prst="rect">
            <a:avLst/>
          </a:prstGeom>
          <a:noFill/>
        </p:spPr>
        <p:txBody>
          <a:bodyPr wrap="square" lIns="0" tIns="0" rIns="0" bIns="0" rtlCol="0">
            <a:noAutofit/>
          </a:bodyPr>
          <a:lstStyle/>
          <a:p>
            <a:pPr algn="l">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Exercise 1. Create trend logging</a:t>
            </a:r>
          </a:p>
          <a:p>
            <a:pPr algn="l">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Learning goal: </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Observe, how real time value changes in the controller</a:t>
            </a:r>
          </a:p>
          <a:p>
            <a:pPr algn="l">
              <a:lnSpc>
                <a:spcPct val="110000"/>
              </a:lnSpc>
              <a:spcBef>
                <a:spcPts val="0"/>
              </a:spcBef>
            </a:pPr>
            <a:endParaRPr lang="en-US" sz="400" b="1" dirty="0">
              <a:solidFill>
                <a:schemeClr val="tx1"/>
              </a:solidFill>
              <a:latin typeface="+mn-lt"/>
              <a:ea typeface="Arial Unicode MS" panose="020B0604020202020204" pitchFamily="34" charset="-128"/>
              <a:cs typeface="Arial Unicode MS" panose="020B0604020202020204" pitchFamily="34" charset="-128"/>
            </a:endParaRPr>
          </a:p>
          <a:p>
            <a:pPr algn="l">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Workflow overview:</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1. add data points from the browser </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2. adapt scales of the data points</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3. change setpoint value and observe changes</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4. adapt curve line setting for better differentiation</a:t>
            </a:r>
          </a:p>
        </p:txBody>
      </p:sp>
      <p:sp>
        <p:nvSpPr>
          <p:cNvPr id="106" name="TextBox 19">
            <a:extLst>
              <a:ext uri="{FF2B5EF4-FFF2-40B4-BE49-F238E27FC236}">
                <a16:creationId xmlns:a16="http://schemas.microsoft.com/office/drawing/2014/main" id="{568D2ADE-E380-46DB-82AD-290E8528F85E}"/>
              </a:ext>
            </a:extLst>
          </p:cNvPr>
          <p:cNvSpPr txBox="1"/>
          <p:nvPr/>
        </p:nvSpPr>
        <p:spPr>
          <a:xfrm>
            <a:off x="2276672" y="3175600"/>
            <a:ext cx="6282566" cy="2329089"/>
          </a:xfrm>
          <a:prstGeom prst="rect">
            <a:avLst/>
          </a:prstGeom>
          <a:noFill/>
        </p:spPr>
        <p:txBody>
          <a:bodyPr wrap="square" lIns="0" tIns="0" rIns="0" bIns="0" rtlCol="0">
            <a:noAutofit/>
          </a:bodyPr>
          <a:lstStyle/>
          <a:p>
            <a:pPr algn="l">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Exercise 2. Set up archive</a:t>
            </a:r>
          </a:p>
          <a:p>
            <a:pPr algn="l">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Learning goal: </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Create an archive and observe the data</a:t>
            </a:r>
          </a:p>
          <a:p>
            <a:pPr algn="l">
              <a:lnSpc>
                <a:spcPct val="110000"/>
              </a:lnSpc>
              <a:spcBef>
                <a:spcPts val="0"/>
              </a:spcBef>
            </a:pPr>
            <a:endParaRPr lang="en-US" sz="400" b="1" dirty="0">
              <a:solidFill>
                <a:schemeClr val="tx1"/>
              </a:solidFill>
              <a:latin typeface="+mn-lt"/>
              <a:ea typeface="Arial Unicode MS" panose="020B0604020202020204" pitchFamily="34" charset="-128"/>
              <a:cs typeface="Arial Unicode MS" panose="020B0604020202020204" pitchFamily="34" charset="-128"/>
            </a:endParaRPr>
          </a:p>
          <a:p>
            <a:pPr algn="l">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Workflow overview:</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1. enable archive</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2. target and archive profile must be set up</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3. Drag and drop data points to the profile viewer</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4. Change COV settings</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5. Configuration is registered in the target</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6. Profile Configuration is saved in Scope project</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7. Extend archive capacity (SD card)</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8. Maintaining the archive</a:t>
            </a:r>
          </a:p>
          <a:p>
            <a:pPr algn="l">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3" name="Textfeld 337">
            <a:extLst>
              <a:ext uri="{FF2B5EF4-FFF2-40B4-BE49-F238E27FC236}">
                <a16:creationId xmlns:a16="http://schemas.microsoft.com/office/drawing/2014/main" id="{230989A9-342A-4321-B9D7-2816B24ABB44}"/>
              </a:ext>
            </a:extLst>
          </p:cNvPr>
          <p:cNvSpPr txBox="1"/>
          <p:nvPr/>
        </p:nvSpPr>
        <p:spPr>
          <a:xfrm>
            <a:off x="-1" y="4413970"/>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Trend logging / Archive</a:t>
            </a:r>
            <a:endParaRPr lang="en-US" sz="1100" b="0" u="none" strike="noStrike" kern="1200" dirty="0">
              <a:effectLst/>
              <a:latin typeface="+mj-lt"/>
              <a:ea typeface="+mn-ea"/>
            </a:endParaRPr>
          </a:p>
        </p:txBody>
      </p:sp>
    </p:spTree>
    <p:extLst>
      <p:ext uri="{BB962C8B-B14F-4D97-AF65-F5344CB8AC3E}">
        <p14:creationId xmlns:p14="http://schemas.microsoft.com/office/powerpoint/2010/main" val="98112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fade">
                                      <p:cBhvr>
                                        <p:cTn id="7"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315" name="Foliennummernplatzhalter 6">
            <a:extLst>
              <a:ext uri="{FF2B5EF4-FFF2-40B4-BE49-F238E27FC236}">
                <a16:creationId xmlns:a16="http://schemas.microsoft.com/office/drawing/2014/main" id="{CBA15F05-AFC8-4D36-A623-FE015BB43397}"/>
              </a:ext>
            </a:extLst>
          </p:cNvPr>
          <p:cNvSpPr>
            <a:spLocks noGrp="1"/>
          </p:cNvSpPr>
          <p:nvPr>
            <p:ph type="sldNum" sz="quarter" idx="12"/>
          </p:nvPr>
        </p:nvSpPr>
        <p:spPr bwMode="auto">
          <a:xfrm>
            <a:off x="539750" y="6488113"/>
            <a:ext cx="877888" cy="273050"/>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defPPr>
              <a:defRPr lang="de-DE"/>
            </a:defPPr>
            <a:lvl1pPr algn="l" rtl="0" fontAlgn="base">
              <a:lnSpc>
                <a:spcPct val="100000"/>
              </a:lnSpc>
              <a:spcBef>
                <a:spcPct val="0"/>
              </a:spcBef>
              <a:spcAft>
                <a:spcPct val="0"/>
              </a:spcAft>
              <a:buClrTx/>
              <a:buFontTx/>
              <a:buNone/>
              <a:defRPr sz="1200" kern="1200">
                <a:solidFill>
                  <a:schemeClr val="tx1"/>
                </a:solidFill>
                <a:latin typeface="Arial" panose="020B0604020202020204" pitchFamily="34" charset="0"/>
                <a:ea typeface="+mn-ea"/>
                <a:cs typeface="+mn-cs"/>
              </a:defRPr>
            </a:lvl1pPr>
            <a:lvl2pPr marL="457200" algn="l" rtl="0" fontAlgn="base">
              <a:lnSpc>
                <a:spcPct val="110000"/>
              </a:lnSpc>
              <a:spcBef>
                <a:spcPct val="0"/>
              </a:spcBef>
              <a:spcAft>
                <a:spcPct val="0"/>
              </a:spcAft>
              <a:buClr>
                <a:schemeClr val="accent1"/>
              </a:buClr>
              <a:buFont typeface="Wingdings" panose="05000000000000000000" pitchFamily="2" charset="2"/>
              <a:buChar char="§"/>
              <a:defRPr sz="1400" kern="1200">
                <a:solidFill>
                  <a:schemeClr val="tx1"/>
                </a:solidFill>
                <a:latin typeface="Arial" panose="020B0604020202020204" pitchFamily="34" charset="0"/>
                <a:ea typeface="+mn-ea"/>
                <a:cs typeface="+mn-cs"/>
              </a:defRPr>
            </a:lvl2pPr>
            <a:lvl3pPr marL="914400" algn="l" rtl="0" fontAlgn="base">
              <a:lnSpc>
                <a:spcPct val="110000"/>
              </a:lnSpc>
              <a:spcBef>
                <a:spcPct val="0"/>
              </a:spcBef>
              <a:spcAft>
                <a:spcPct val="0"/>
              </a:spcAft>
              <a:buClr>
                <a:schemeClr val="accent1"/>
              </a:buClr>
              <a:buFont typeface="Wingdings" panose="05000000000000000000" pitchFamily="2" charset="2"/>
              <a:buChar char="§"/>
              <a:defRPr sz="1400" kern="1200">
                <a:solidFill>
                  <a:schemeClr val="tx1"/>
                </a:solidFill>
                <a:latin typeface="Arial" panose="020B0604020202020204" pitchFamily="34" charset="0"/>
                <a:ea typeface="+mn-ea"/>
                <a:cs typeface="+mn-cs"/>
              </a:defRPr>
            </a:lvl3pPr>
            <a:lvl4pPr marL="1371600" algn="l" rtl="0" fontAlgn="base">
              <a:lnSpc>
                <a:spcPct val="110000"/>
              </a:lnSpc>
              <a:spcBef>
                <a:spcPct val="0"/>
              </a:spcBef>
              <a:spcAft>
                <a:spcPct val="0"/>
              </a:spcAft>
              <a:buClr>
                <a:schemeClr val="accent1"/>
              </a:buClr>
              <a:buFont typeface="Wingdings" panose="05000000000000000000" pitchFamily="2" charset="2"/>
              <a:buChar char="§"/>
              <a:defRPr sz="1400" kern="1200">
                <a:solidFill>
                  <a:schemeClr val="tx1"/>
                </a:solidFill>
                <a:latin typeface="Arial" panose="020B0604020202020204" pitchFamily="34" charset="0"/>
                <a:ea typeface="+mn-ea"/>
                <a:cs typeface="+mn-cs"/>
              </a:defRPr>
            </a:lvl4pPr>
            <a:lvl5pPr marL="1828800" algn="l" rtl="0" fontAlgn="base">
              <a:lnSpc>
                <a:spcPct val="110000"/>
              </a:lnSpc>
              <a:spcBef>
                <a:spcPct val="0"/>
              </a:spcBef>
              <a:spcAft>
                <a:spcPct val="0"/>
              </a:spcAft>
              <a:buClr>
                <a:schemeClr val="accent1"/>
              </a:buClr>
              <a:buFont typeface="Wingdings" panose="05000000000000000000" pitchFamily="2" charset="2"/>
              <a:buChar char="§"/>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eaLnBrk="1" hangingPunct="1"/>
            <a:r>
              <a:rPr lang="en-US" altLang="de-DE">
                <a:latin typeface="+mj-lt"/>
              </a:rPr>
              <a:t>Page </a:t>
            </a:r>
            <a:fld id="{33316B96-605D-494B-93AE-3ACA2BC23CC3}" type="slidenum">
              <a:rPr lang="en-US" altLang="de-DE" smtClean="0">
                <a:latin typeface="+mj-lt"/>
              </a:rPr>
              <a:pPr eaLnBrk="1" hangingPunct="1"/>
              <a:t>7</a:t>
            </a:fld>
            <a:endParaRPr lang="en-US" altLang="de-DE">
              <a:latin typeface="+mj-lt"/>
            </a:endParaRPr>
          </a:p>
        </p:txBody>
      </p:sp>
      <p:grpSp>
        <p:nvGrpSpPr>
          <p:cNvPr id="2" name="Gruppieren 1">
            <a:extLst>
              <a:ext uri="{FF2B5EF4-FFF2-40B4-BE49-F238E27FC236}">
                <a16:creationId xmlns:a16="http://schemas.microsoft.com/office/drawing/2014/main" id="{C3F62A4D-98C9-4DB1-B060-7D188640C526}"/>
              </a:ext>
            </a:extLst>
          </p:cNvPr>
          <p:cNvGrpSpPr/>
          <p:nvPr/>
        </p:nvGrpSpPr>
        <p:grpSpPr>
          <a:xfrm>
            <a:off x="2167619" y="653050"/>
            <a:ext cx="9564875" cy="6141846"/>
            <a:chOff x="2281238" y="1557338"/>
            <a:chExt cx="7163833" cy="4600077"/>
          </a:xfrm>
        </p:grpSpPr>
        <p:grpSp>
          <p:nvGrpSpPr>
            <p:cNvPr id="13318" name="Gruppieren 60">
              <a:extLst>
                <a:ext uri="{FF2B5EF4-FFF2-40B4-BE49-F238E27FC236}">
                  <a16:creationId xmlns:a16="http://schemas.microsoft.com/office/drawing/2014/main" id="{3B6A85AC-5F7E-4BE0-A2D3-6A3CEA91798F}"/>
                </a:ext>
              </a:extLst>
            </p:cNvPr>
            <p:cNvGrpSpPr>
              <a:grpSpLocks/>
            </p:cNvGrpSpPr>
            <p:nvPr/>
          </p:nvGrpSpPr>
          <p:grpSpPr bwMode="auto">
            <a:xfrm>
              <a:off x="2281238" y="1557338"/>
              <a:ext cx="7163833" cy="4600077"/>
              <a:chOff x="755576" y="1556792"/>
              <a:chExt cx="7163603" cy="4600151"/>
            </a:xfrm>
          </p:grpSpPr>
          <p:grpSp>
            <p:nvGrpSpPr>
              <p:cNvPr id="13320" name="Gruppieren 40">
                <a:extLst>
                  <a:ext uri="{FF2B5EF4-FFF2-40B4-BE49-F238E27FC236}">
                    <a16:creationId xmlns:a16="http://schemas.microsoft.com/office/drawing/2014/main" id="{0ED644C4-7F74-425C-91A7-9D5281FDB6C9}"/>
                  </a:ext>
                </a:extLst>
              </p:cNvPr>
              <p:cNvGrpSpPr>
                <a:grpSpLocks/>
              </p:cNvGrpSpPr>
              <p:nvPr/>
            </p:nvGrpSpPr>
            <p:grpSpPr bwMode="auto">
              <a:xfrm>
                <a:off x="755576" y="1556792"/>
                <a:ext cx="7021288" cy="3528392"/>
                <a:chOff x="323528" y="1412776"/>
                <a:chExt cx="7021288" cy="3528392"/>
              </a:xfrm>
            </p:grpSpPr>
            <p:sp>
              <p:nvSpPr>
                <p:cNvPr id="14" name="Rechteck 12">
                  <a:extLst>
                    <a:ext uri="{FF2B5EF4-FFF2-40B4-BE49-F238E27FC236}">
                      <a16:creationId xmlns:a16="http://schemas.microsoft.com/office/drawing/2014/main" id="{289C428F-003C-4184-B43A-68E042120FEA}"/>
                    </a:ext>
                  </a:extLst>
                </p:cNvPr>
                <p:cNvSpPr>
                  <a:spLocks noChangeArrowheads="1"/>
                </p:cNvSpPr>
                <p:nvPr/>
              </p:nvSpPr>
              <p:spPr bwMode="auto">
                <a:xfrm>
                  <a:off x="323528" y="2709784"/>
                  <a:ext cx="720702" cy="207468"/>
                </a:xfrm>
                <a:prstGeom prst="rect">
                  <a:avLst/>
                </a:prstGeom>
                <a:noFill/>
                <a:ln w="9525">
                  <a:noFill/>
                  <a:miter lim="800000"/>
                  <a:headEnd/>
                  <a:tailEnd/>
                </a:ln>
              </p:spPr>
              <p:txBody>
                <a:bodyPr>
                  <a:spAutoFit/>
                </a:bodyPr>
                <a:lstStyle/>
                <a:p>
                  <a:pPr>
                    <a:buClrTx/>
                    <a:buFont typeface="Wingdings" panose="05000000000000000000" pitchFamily="2" charset="2"/>
                    <a:buNone/>
                    <a:defRPr/>
                  </a:pPr>
                  <a:r>
                    <a:rPr lang="en-US" sz="1200">
                      <a:solidFill>
                        <a:srgbClr val="0080B6"/>
                      </a:solidFill>
                      <a:latin typeface="+mj-lt"/>
                    </a:rPr>
                    <a:t>Line1</a:t>
                  </a:r>
                </a:p>
              </p:txBody>
            </p:sp>
            <p:sp>
              <p:nvSpPr>
                <p:cNvPr id="17" name="Rechteck 12">
                  <a:extLst>
                    <a:ext uri="{FF2B5EF4-FFF2-40B4-BE49-F238E27FC236}">
                      <a16:creationId xmlns:a16="http://schemas.microsoft.com/office/drawing/2014/main" id="{81AA1B4F-28D1-4E84-AB99-D7E940F9C309}"/>
                    </a:ext>
                  </a:extLst>
                </p:cNvPr>
                <p:cNvSpPr>
                  <a:spLocks noChangeArrowheads="1"/>
                </p:cNvSpPr>
                <p:nvPr/>
              </p:nvSpPr>
              <p:spPr bwMode="auto">
                <a:xfrm>
                  <a:off x="399726" y="3765489"/>
                  <a:ext cx="720702" cy="207468"/>
                </a:xfrm>
                <a:prstGeom prst="rect">
                  <a:avLst/>
                </a:prstGeom>
                <a:noFill/>
                <a:ln w="9525">
                  <a:noFill/>
                  <a:miter lim="800000"/>
                  <a:headEnd/>
                  <a:tailEnd/>
                </a:ln>
              </p:spPr>
              <p:txBody>
                <a:bodyPr>
                  <a:spAutoFit/>
                </a:bodyPr>
                <a:lstStyle/>
                <a:p>
                  <a:pPr>
                    <a:buClrTx/>
                    <a:buFont typeface="Wingdings" panose="05000000000000000000" pitchFamily="2" charset="2"/>
                    <a:buNone/>
                    <a:defRPr/>
                  </a:pPr>
                  <a:r>
                    <a:rPr lang="en-US" sz="1200">
                      <a:solidFill>
                        <a:srgbClr val="0080B6"/>
                      </a:solidFill>
                      <a:latin typeface="+mj-lt"/>
                    </a:rPr>
                    <a:t>Line x</a:t>
                  </a:r>
                </a:p>
              </p:txBody>
            </p:sp>
            <p:grpSp>
              <p:nvGrpSpPr>
                <p:cNvPr id="13333" name="Gruppieren 39">
                  <a:extLst>
                    <a:ext uri="{FF2B5EF4-FFF2-40B4-BE49-F238E27FC236}">
                      <a16:creationId xmlns:a16="http://schemas.microsoft.com/office/drawing/2014/main" id="{3182780E-DA9A-4C86-B406-202AAEAE1D32}"/>
                    </a:ext>
                  </a:extLst>
                </p:cNvPr>
                <p:cNvGrpSpPr>
                  <a:grpSpLocks/>
                </p:cNvGrpSpPr>
                <p:nvPr/>
              </p:nvGrpSpPr>
              <p:grpSpPr bwMode="auto">
                <a:xfrm>
                  <a:off x="827584" y="1412776"/>
                  <a:ext cx="6517232" cy="3528392"/>
                  <a:chOff x="827584" y="1412776"/>
                  <a:chExt cx="6517232" cy="3528392"/>
                </a:xfrm>
              </p:grpSpPr>
              <p:pic>
                <p:nvPicPr>
                  <p:cNvPr id="13334" name="Picture 2">
                    <a:extLst>
                      <a:ext uri="{FF2B5EF4-FFF2-40B4-BE49-F238E27FC236}">
                        <a16:creationId xmlns:a16="http://schemas.microsoft.com/office/drawing/2014/main" id="{82843852-6082-45C6-8F8F-75C6B99AD5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9632" y="2564904"/>
                    <a:ext cx="5847351" cy="2376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cxnSp>
                <p:nvCxnSpPr>
                  <p:cNvPr id="13335" name="Gerade Verbindung mit Pfeil 12">
                    <a:extLst>
                      <a:ext uri="{FF2B5EF4-FFF2-40B4-BE49-F238E27FC236}">
                        <a16:creationId xmlns:a16="http://schemas.microsoft.com/office/drawing/2014/main" id="{D577AD38-4EA8-4DBA-98E9-A7D2545C4544}"/>
                      </a:ext>
                    </a:extLst>
                  </p:cNvPr>
                  <p:cNvCxnSpPr>
                    <a:cxnSpLocks noChangeShapeType="1"/>
                  </p:cNvCxnSpPr>
                  <p:nvPr/>
                </p:nvCxnSpPr>
                <p:spPr bwMode="auto">
                  <a:xfrm>
                    <a:off x="827584" y="2852936"/>
                    <a:ext cx="360040" cy="0"/>
                  </a:xfrm>
                  <a:prstGeom prst="straightConnector1">
                    <a:avLst/>
                  </a:prstGeom>
                  <a:noFill/>
                  <a:ln w="28575" algn="ctr">
                    <a:solidFill>
                      <a:srgbClr val="0080B6"/>
                    </a:solidFill>
                    <a:round/>
                    <a:headEnd/>
                    <a:tailEnd type="arrow" w="med" len="med"/>
                  </a:ln>
                  <a:extLst>
                    <a:ext uri="{909E8E84-426E-40DD-AFC4-6F175D3DCCD1}">
                      <a14:hiddenFill xmlns:a14="http://schemas.microsoft.com/office/drawing/2010/main">
                        <a:noFill/>
                      </a14:hiddenFill>
                    </a:ext>
                  </a:extLst>
                </p:spPr>
              </p:cxnSp>
              <p:sp>
                <p:nvSpPr>
                  <p:cNvPr id="18" name="Rechteck 12">
                    <a:extLst>
                      <a:ext uri="{FF2B5EF4-FFF2-40B4-BE49-F238E27FC236}">
                        <a16:creationId xmlns:a16="http://schemas.microsoft.com/office/drawing/2014/main" id="{558C5EAB-D0E9-410B-9B41-4EC65DBC2E25}"/>
                      </a:ext>
                    </a:extLst>
                  </p:cNvPr>
                  <p:cNvSpPr>
                    <a:spLocks noChangeArrowheads="1"/>
                  </p:cNvSpPr>
                  <p:nvPr/>
                </p:nvSpPr>
                <p:spPr bwMode="auto">
                  <a:xfrm>
                    <a:off x="1620475" y="1989047"/>
                    <a:ext cx="792137" cy="207468"/>
                  </a:xfrm>
                  <a:prstGeom prst="rect">
                    <a:avLst/>
                  </a:prstGeom>
                  <a:noFill/>
                  <a:ln w="9525">
                    <a:noFill/>
                    <a:miter lim="800000"/>
                    <a:headEnd/>
                    <a:tailEnd/>
                  </a:ln>
                </p:spPr>
                <p:txBody>
                  <a:bodyPr>
                    <a:spAutoFit/>
                  </a:bodyPr>
                  <a:lstStyle/>
                  <a:p>
                    <a:pPr>
                      <a:buClrTx/>
                      <a:buFont typeface="Wingdings" panose="05000000000000000000" pitchFamily="2" charset="2"/>
                      <a:buNone/>
                      <a:defRPr/>
                    </a:pPr>
                    <a:r>
                      <a:rPr lang="en-US" sz="1200" dirty="0">
                        <a:solidFill>
                          <a:srgbClr val="0080B6"/>
                        </a:solidFill>
                        <a:latin typeface="+mj-lt"/>
                      </a:rPr>
                      <a:t>Object ID</a:t>
                    </a:r>
                  </a:p>
                </p:txBody>
              </p:sp>
              <p:sp>
                <p:nvSpPr>
                  <p:cNvPr id="19" name="Rechteck 12">
                    <a:extLst>
                      <a:ext uri="{FF2B5EF4-FFF2-40B4-BE49-F238E27FC236}">
                        <a16:creationId xmlns:a16="http://schemas.microsoft.com/office/drawing/2014/main" id="{12CB17AE-E215-4DE7-9D1C-7FCD8AF3F9D8}"/>
                      </a:ext>
                    </a:extLst>
                  </p:cNvPr>
                  <p:cNvSpPr>
                    <a:spLocks noChangeArrowheads="1"/>
                  </p:cNvSpPr>
                  <p:nvPr/>
                </p:nvSpPr>
                <p:spPr bwMode="auto">
                  <a:xfrm>
                    <a:off x="2725339" y="1960472"/>
                    <a:ext cx="792137" cy="207468"/>
                  </a:xfrm>
                  <a:prstGeom prst="rect">
                    <a:avLst/>
                  </a:prstGeom>
                  <a:noFill/>
                  <a:ln w="9525">
                    <a:noFill/>
                    <a:miter lim="800000"/>
                    <a:headEnd/>
                    <a:tailEnd/>
                  </a:ln>
                </p:spPr>
                <p:txBody>
                  <a:bodyPr>
                    <a:spAutoFit/>
                  </a:bodyPr>
                  <a:lstStyle/>
                  <a:p>
                    <a:pPr>
                      <a:buClrTx/>
                      <a:buFont typeface="Wingdings" panose="05000000000000000000" pitchFamily="2" charset="2"/>
                      <a:buNone/>
                      <a:defRPr/>
                    </a:pPr>
                    <a:r>
                      <a:rPr lang="en-US" sz="1200">
                        <a:solidFill>
                          <a:srgbClr val="0080B6"/>
                        </a:solidFill>
                        <a:latin typeface="+mj-lt"/>
                      </a:rPr>
                      <a:t>Member</a:t>
                    </a:r>
                  </a:p>
                </p:txBody>
              </p:sp>
              <p:sp>
                <p:nvSpPr>
                  <p:cNvPr id="20" name="Rechteck 12">
                    <a:extLst>
                      <a:ext uri="{FF2B5EF4-FFF2-40B4-BE49-F238E27FC236}">
                        <a16:creationId xmlns:a16="http://schemas.microsoft.com/office/drawing/2014/main" id="{2D61A931-55BA-42CF-AE2A-643635A8CE7B}"/>
                      </a:ext>
                    </a:extLst>
                  </p:cNvPr>
                  <p:cNvSpPr>
                    <a:spLocks noChangeArrowheads="1"/>
                  </p:cNvSpPr>
                  <p:nvPr/>
                </p:nvSpPr>
                <p:spPr bwMode="auto">
                  <a:xfrm>
                    <a:off x="3368256" y="1950947"/>
                    <a:ext cx="792138" cy="207468"/>
                  </a:xfrm>
                  <a:prstGeom prst="rect">
                    <a:avLst/>
                  </a:prstGeom>
                  <a:noFill/>
                  <a:ln w="9525">
                    <a:noFill/>
                    <a:miter lim="800000"/>
                    <a:headEnd/>
                    <a:tailEnd/>
                  </a:ln>
                </p:spPr>
                <p:txBody>
                  <a:bodyPr>
                    <a:spAutoFit/>
                  </a:bodyPr>
                  <a:lstStyle/>
                  <a:p>
                    <a:pPr>
                      <a:buClrTx/>
                      <a:buFont typeface="Wingdings" panose="05000000000000000000" pitchFamily="2" charset="2"/>
                      <a:buNone/>
                      <a:defRPr/>
                    </a:pPr>
                    <a:r>
                      <a:rPr lang="en-US" sz="1200">
                        <a:solidFill>
                          <a:srgbClr val="0080B6"/>
                        </a:solidFill>
                        <a:latin typeface="+mj-lt"/>
                      </a:rPr>
                      <a:t>Trend ID</a:t>
                    </a:r>
                  </a:p>
                </p:txBody>
              </p:sp>
              <p:sp>
                <p:nvSpPr>
                  <p:cNvPr id="13339" name="Geschweifte Klammer links 20">
                    <a:extLst>
                      <a:ext uri="{FF2B5EF4-FFF2-40B4-BE49-F238E27FC236}">
                        <a16:creationId xmlns:a16="http://schemas.microsoft.com/office/drawing/2014/main" id="{88CBDA36-A0A5-4AE8-95CB-9272E1C7C9B9}"/>
                      </a:ext>
                    </a:extLst>
                  </p:cNvPr>
                  <p:cNvSpPr>
                    <a:spLocks/>
                  </p:cNvSpPr>
                  <p:nvPr/>
                </p:nvSpPr>
                <p:spPr bwMode="auto">
                  <a:xfrm rot="5400000">
                    <a:off x="1835696" y="1772816"/>
                    <a:ext cx="288032" cy="1152128"/>
                  </a:xfrm>
                  <a:prstGeom prst="leftBrace">
                    <a:avLst>
                      <a:gd name="adj1" fmla="val 8333"/>
                      <a:gd name="adj2" fmla="val 50000"/>
                    </a:avLst>
                  </a:prstGeom>
                  <a:noFill/>
                  <a:ln w="28575" algn="ctr">
                    <a:solidFill>
                      <a:srgbClr val="0080B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endParaRPr lang="de-DE" altLang="de-DE" sz="1200">
                      <a:solidFill>
                        <a:srgbClr val="0080B6"/>
                      </a:solidFill>
                      <a:latin typeface="+mj-lt"/>
                    </a:endParaRPr>
                  </a:p>
                </p:txBody>
              </p:sp>
              <p:sp>
                <p:nvSpPr>
                  <p:cNvPr id="13340" name="Geschweifte Klammer links 21">
                    <a:extLst>
                      <a:ext uri="{FF2B5EF4-FFF2-40B4-BE49-F238E27FC236}">
                        <a16:creationId xmlns:a16="http://schemas.microsoft.com/office/drawing/2014/main" id="{7C76BEF1-9B40-4591-BAC7-A5320D5606EE}"/>
                      </a:ext>
                    </a:extLst>
                  </p:cNvPr>
                  <p:cNvSpPr>
                    <a:spLocks/>
                  </p:cNvSpPr>
                  <p:nvPr/>
                </p:nvSpPr>
                <p:spPr bwMode="auto">
                  <a:xfrm rot="5400000">
                    <a:off x="2879812" y="2096852"/>
                    <a:ext cx="288032" cy="504056"/>
                  </a:xfrm>
                  <a:prstGeom prst="leftBrace">
                    <a:avLst>
                      <a:gd name="adj1" fmla="val 8337"/>
                      <a:gd name="adj2" fmla="val 50000"/>
                    </a:avLst>
                  </a:prstGeom>
                  <a:noFill/>
                  <a:ln w="28575" algn="ctr">
                    <a:solidFill>
                      <a:srgbClr val="0080B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de-DE" altLang="de-DE" sz="1200">
                      <a:solidFill>
                        <a:srgbClr val="0080B6"/>
                      </a:solidFill>
                      <a:latin typeface="+mj-lt"/>
                    </a:endParaRPr>
                  </a:p>
                </p:txBody>
              </p:sp>
              <p:sp>
                <p:nvSpPr>
                  <p:cNvPr id="13341" name="Geschweifte Klammer links 22">
                    <a:extLst>
                      <a:ext uri="{FF2B5EF4-FFF2-40B4-BE49-F238E27FC236}">
                        <a16:creationId xmlns:a16="http://schemas.microsoft.com/office/drawing/2014/main" id="{A7504253-4921-4BC8-82F8-F1C5F6B9827F}"/>
                      </a:ext>
                    </a:extLst>
                  </p:cNvPr>
                  <p:cNvSpPr>
                    <a:spLocks/>
                  </p:cNvSpPr>
                  <p:nvPr/>
                </p:nvSpPr>
                <p:spPr bwMode="auto">
                  <a:xfrm rot="5400000">
                    <a:off x="3527884" y="2121235"/>
                    <a:ext cx="288032" cy="504056"/>
                  </a:xfrm>
                  <a:prstGeom prst="leftBrace">
                    <a:avLst>
                      <a:gd name="adj1" fmla="val 8337"/>
                      <a:gd name="adj2" fmla="val 50000"/>
                    </a:avLst>
                  </a:prstGeom>
                  <a:noFill/>
                  <a:ln w="28575" algn="ctr">
                    <a:solidFill>
                      <a:srgbClr val="0080B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endParaRPr lang="de-DE" altLang="de-DE" sz="1200">
                      <a:solidFill>
                        <a:srgbClr val="0080B6"/>
                      </a:solidFill>
                      <a:latin typeface="+mj-lt"/>
                    </a:endParaRPr>
                  </a:p>
                </p:txBody>
              </p:sp>
              <p:sp>
                <p:nvSpPr>
                  <p:cNvPr id="25" name="Rechteck 12">
                    <a:extLst>
                      <a:ext uri="{FF2B5EF4-FFF2-40B4-BE49-F238E27FC236}">
                        <a16:creationId xmlns:a16="http://schemas.microsoft.com/office/drawing/2014/main" id="{85C10D85-991F-48E9-A6D9-C77C0F5AC1F5}"/>
                      </a:ext>
                    </a:extLst>
                  </p:cNvPr>
                  <p:cNvSpPr>
                    <a:spLocks noChangeArrowheads="1"/>
                  </p:cNvSpPr>
                  <p:nvPr/>
                </p:nvSpPr>
                <p:spPr bwMode="auto">
                  <a:xfrm>
                    <a:off x="2988856" y="1412776"/>
                    <a:ext cx="4103555" cy="207468"/>
                  </a:xfrm>
                  <a:prstGeom prst="rect">
                    <a:avLst/>
                  </a:prstGeom>
                  <a:noFill/>
                  <a:ln w="9525">
                    <a:noFill/>
                    <a:miter lim="800000"/>
                    <a:headEnd/>
                    <a:tailEnd/>
                  </a:ln>
                </p:spPr>
                <p:txBody>
                  <a:bodyPr>
                    <a:spAutoFit/>
                  </a:bodyPr>
                  <a:lstStyle/>
                  <a:p>
                    <a:pPr>
                      <a:buClrTx/>
                      <a:buFont typeface="Wingdings" panose="05000000000000000000" pitchFamily="2" charset="2"/>
                      <a:buNone/>
                      <a:defRPr/>
                    </a:pPr>
                    <a:r>
                      <a:rPr lang="en-US" sz="1200">
                        <a:solidFill>
                          <a:srgbClr val="0080B6"/>
                        </a:solidFill>
                        <a:latin typeface="+mj-lt"/>
                      </a:rPr>
                      <a:t>Engineering unit system enumeration:  2 = Metric, 3 = Imperial</a:t>
                    </a:r>
                  </a:p>
                </p:txBody>
              </p:sp>
              <p:cxnSp>
                <p:nvCxnSpPr>
                  <p:cNvPr id="13343" name="Gerade Verbindung mit Pfeil 25">
                    <a:extLst>
                      <a:ext uri="{FF2B5EF4-FFF2-40B4-BE49-F238E27FC236}">
                        <a16:creationId xmlns:a16="http://schemas.microsoft.com/office/drawing/2014/main" id="{D6B5EA03-990F-496B-9FC9-01512111AA2F}"/>
                      </a:ext>
                    </a:extLst>
                  </p:cNvPr>
                  <p:cNvCxnSpPr>
                    <a:cxnSpLocks noChangeShapeType="1"/>
                    <a:stCxn id="25" idx="2"/>
                  </p:cNvCxnSpPr>
                  <p:nvPr/>
                </p:nvCxnSpPr>
                <p:spPr bwMode="auto">
                  <a:xfrm flipH="1">
                    <a:off x="4139952" y="1620244"/>
                    <a:ext cx="900682" cy="1088676"/>
                  </a:xfrm>
                  <a:prstGeom prst="straightConnector1">
                    <a:avLst/>
                  </a:prstGeom>
                  <a:noFill/>
                  <a:ln w="28575" algn="ctr">
                    <a:solidFill>
                      <a:srgbClr val="0080B6"/>
                    </a:solidFill>
                    <a:round/>
                    <a:headEnd/>
                    <a:tailEnd type="arrow" w="med" len="med"/>
                  </a:ln>
                  <a:extLst>
                    <a:ext uri="{909E8E84-426E-40DD-AFC4-6F175D3DCCD1}">
                      <a14:hiddenFill xmlns:a14="http://schemas.microsoft.com/office/drawing/2010/main">
                        <a:noFill/>
                      </a14:hiddenFill>
                    </a:ext>
                  </a:extLst>
                </p:spPr>
              </p:cxnSp>
              <p:sp>
                <p:nvSpPr>
                  <p:cNvPr id="29" name="Rechteck 12">
                    <a:extLst>
                      <a:ext uri="{FF2B5EF4-FFF2-40B4-BE49-F238E27FC236}">
                        <a16:creationId xmlns:a16="http://schemas.microsoft.com/office/drawing/2014/main" id="{404B35CD-26BF-486B-910E-78963F419FA4}"/>
                      </a:ext>
                    </a:extLst>
                  </p:cNvPr>
                  <p:cNvSpPr>
                    <a:spLocks noChangeArrowheads="1"/>
                  </p:cNvSpPr>
                  <p:nvPr/>
                </p:nvSpPr>
                <p:spPr bwMode="auto">
                  <a:xfrm>
                    <a:off x="5363680" y="1700118"/>
                    <a:ext cx="1981136" cy="207468"/>
                  </a:xfrm>
                  <a:prstGeom prst="rect">
                    <a:avLst/>
                  </a:prstGeom>
                  <a:noFill/>
                  <a:ln w="9525">
                    <a:noFill/>
                    <a:miter lim="800000"/>
                    <a:headEnd/>
                    <a:tailEnd/>
                  </a:ln>
                </p:spPr>
                <p:txBody>
                  <a:bodyPr>
                    <a:spAutoFit/>
                  </a:bodyPr>
                  <a:lstStyle/>
                  <a:p>
                    <a:pPr>
                      <a:buClrTx/>
                      <a:buFont typeface="Wingdings" panose="05000000000000000000" pitchFamily="2" charset="2"/>
                      <a:buNone/>
                      <a:defRPr/>
                    </a:pPr>
                    <a:r>
                      <a:rPr lang="de-DE" sz="1200">
                        <a:solidFill>
                          <a:srgbClr val="0080B6"/>
                        </a:solidFill>
                        <a:latin typeface="+mj-lt"/>
                      </a:rPr>
                      <a:t>Engineering </a:t>
                    </a:r>
                    <a:r>
                      <a:rPr lang="de-DE" sz="1200" err="1">
                        <a:solidFill>
                          <a:srgbClr val="0080B6"/>
                        </a:solidFill>
                        <a:latin typeface="+mj-lt"/>
                      </a:rPr>
                      <a:t>unit</a:t>
                    </a:r>
                    <a:r>
                      <a:rPr lang="de-DE" sz="1200">
                        <a:solidFill>
                          <a:srgbClr val="0080B6"/>
                        </a:solidFill>
                        <a:latin typeface="+mj-lt"/>
                      </a:rPr>
                      <a:t> </a:t>
                    </a:r>
                    <a:r>
                      <a:rPr lang="de-DE" sz="1200" err="1">
                        <a:solidFill>
                          <a:srgbClr val="0080B6"/>
                        </a:solidFill>
                        <a:latin typeface="+mj-lt"/>
                      </a:rPr>
                      <a:t>system</a:t>
                    </a:r>
                    <a:r>
                      <a:rPr lang="de-DE" sz="1200">
                        <a:solidFill>
                          <a:srgbClr val="0080B6"/>
                        </a:solidFill>
                        <a:latin typeface="+mj-lt"/>
                      </a:rPr>
                      <a:t> </a:t>
                    </a:r>
                    <a:r>
                      <a:rPr lang="de-DE" sz="1200" err="1">
                        <a:solidFill>
                          <a:srgbClr val="0080B6"/>
                        </a:solidFill>
                        <a:latin typeface="+mj-lt"/>
                      </a:rPr>
                      <a:t>string</a:t>
                    </a:r>
                    <a:endParaRPr lang="en-US" sz="1200">
                      <a:solidFill>
                        <a:srgbClr val="0080B6"/>
                      </a:solidFill>
                      <a:latin typeface="+mj-lt"/>
                    </a:endParaRPr>
                  </a:p>
                </p:txBody>
              </p:sp>
              <p:cxnSp>
                <p:nvCxnSpPr>
                  <p:cNvPr id="13345" name="Gerade Verbindung mit Pfeil 29">
                    <a:extLst>
                      <a:ext uri="{FF2B5EF4-FFF2-40B4-BE49-F238E27FC236}">
                        <a16:creationId xmlns:a16="http://schemas.microsoft.com/office/drawing/2014/main" id="{EF5666DA-C465-4E10-910A-FE7B9F30623B}"/>
                      </a:ext>
                    </a:extLst>
                  </p:cNvPr>
                  <p:cNvCxnSpPr>
                    <a:cxnSpLocks noChangeShapeType="1"/>
                    <a:stCxn id="29" idx="1"/>
                  </p:cNvCxnSpPr>
                  <p:nvPr/>
                </p:nvCxnSpPr>
                <p:spPr bwMode="auto">
                  <a:xfrm flipH="1">
                    <a:off x="4355976" y="1803853"/>
                    <a:ext cx="1007703" cy="905067"/>
                  </a:xfrm>
                  <a:prstGeom prst="straightConnector1">
                    <a:avLst/>
                  </a:prstGeom>
                  <a:noFill/>
                  <a:ln w="28575" algn="ctr">
                    <a:solidFill>
                      <a:srgbClr val="0080B6"/>
                    </a:solidFill>
                    <a:round/>
                    <a:headEnd/>
                    <a:tailEnd type="arrow" w="med" len="med"/>
                  </a:ln>
                  <a:extLst>
                    <a:ext uri="{909E8E84-426E-40DD-AFC4-6F175D3DCCD1}">
                      <a14:hiddenFill xmlns:a14="http://schemas.microsoft.com/office/drawing/2010/main">
                        <a:noFill/>
                      </a14:hiddenFill>
                    </a:ext>
                  </a:extLst>
                </p:spPr>
              </p:cxnSp>
              <p:sp>
                <p:nvSpPr>
                  <p:cNvPr id="33" name="Rechteck 12">
                    <a:extLst>
                      <a:ext uri="{FF2B5EF4-FFF2-40B4-BE49-F238E27FC236}">
                        <a16:creationId xmlns:a16="http://schemas.microsoft.com/office/drawing/2014/main" id="{8D4B4441-2F1A-4CF3-B991-E4E6D37C45C2}"/>
                      </a:ext>
                    </a:extLst>
                  </p:cNvPr>
                  <p:cNvSpPr>
                    <a:spLocks noChangeArrowheads="1"/>
                  </p:cNvSpPr>
                  <p:nvPr/>
                </p:nvSpPr>
                <p:spPr bwMode="auto">
                  <a:xfrm>
                    <a:off x="5474801" y="2050961"/>
                    <a:ext cx="1295358" cy="207468"/>
                  </a:xfrm>
                  <a:prstGeom prst="rect">
                    <a:avLst/>
                  </a:prstGeom>
                  <a:noFill/>
                  <a:ln w="9525">
                    <a:noFill/>
                    <a:miter lim="800000"/>
                    <a:headEnd/>
                    <a:tailEnd/>
                  </a:ln>
                </p:spPr>
                <p:txBody>
                  <a:bodyPr>
                    <a:spAutoFit/>
                  </a:bodyPr>
                  <a:lstStyle/>
                  <a:p>
                    <a:pPr>
                      <a:buClrTx/>
                      <a:buFont typeface="Wingdings" panose="05000000000000000000" pitchFamily="2" charset="2"/>
                      <a:buNone/>
                      <a:defRPr/>
                    </a:pPr>
                    <a:r>
                      <a:rPr lang="de-CH" sz="1200">
                        <a:solidFill>
                          <a:srgbClr val="0080B6"/>
                        </a:solidFill>
                        <a:latin typeface="+mj-lt"/>
                      </a:rPr>
                      <a:t>Instance Name</a:t>
                    </a:r>
                    <a:endParaRPr lang="en-US" sz="1200">
                      <a:solidFill>
                        <a:srgbClr val="0080B6"/>
                      </a:solidFill>
                      <a:latin typeface="+mj-lt"/>
                    </a:endParaRPr>
                  </a:p>
                </p:txBody>
              </p:sp>
              <p:sp>
                <p:nvSpPr>
                  <p:cNvPr id="13347" name="Geschweifte Klammer links 36">
                    <a:extLst>
                      <a:ext uri="{FF2B5EF4-FFF2-40B4-BE49-F238E27FC236}">
                        <a16:creationId xmlns:a16="http://schemas.microsoft.com/office/drawing/2014/main" id="{8871E070-7D4C-41BC-B2BC-FEFCBEAF1ED4}"/>
                      </a:ext>
                    </a:extLst>
                  </p:cNvPr>
                  <p:cNvSpPr>
                    <a:spLocks/>
                  </p:cNvSpPr>
                  <p:nvPr/>
                </p:nvSpPr>
                <p:spPr bwMode="auto">
                  <a:xfrm rot="5400000">
                    <a:off x="5868144" y="1340768"/>
                    <a:ext cx="216024" cy="2088232"/>
                  </a:xfrm>
                  <a:prstGeom prst="leftBrace">
                    <a:avLst>
                      <a:gd name="adj1" fmla="val 8324"/>
                      <a:gd name="adj2" fmla="val 50000"/>
                    </a:avLst>
                  </a:prstGeom>
                  <a:noFill/>
                  <a:ln w="28575" algn="ctr">
                    <a:solidFill>
                      <a:srgbClr val="0080B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endParaRPr lang="de-DE" altLang="de-DE" sz="1200">
                      <a:solidFill>
                        <a:srgbClr val="0080B6"/>
                      </a:solidFill>
                      <a:latin typeface="+mj-lt"/>
                    </a:endParaRPr>
                  </a:p>
                </p:txBody>
              </p:sp>
            </p:grpSp>
          </p:grpSp>
          <p:sp>
            <p:nvSpPr>
              <p:cNvPr id="13321" name="Geschweifte Klammer links 41">
                <a:extLst>
                  <a:ext uri="{FF2B5EF4-FFF2-40B4-BE49-F238E27FC236}">
                    <a16:creationId xmlns:a16="http://schemas.microsoft.com/office/drawing/2014/main" id="{0001D85B-3F9A-46E0-82BE-FDA401D67348}"/>
                  </a:ext>
                </a:extLst>
              </p:cNvPr>
              <p:cNvSpPr>
                <a:spLocks/>
              </p:cNvSpPr>
              <p:nvPr/>
            </p:nvSpPr>
            <p:spPr bwMode="auto">
              <a:xfrm rot="-5400000">
                <a:off x="2555776" y="4365104"/>
                <a:ext cx="288032" cy="1728192"/>
              </a:xfrm>
              <a:prstGeom prst="leftBrace">
                <a:avLst>
                  <a:gd name="adj1" fmla="val 8333"/>
                  <a:gd name="adj2" fmla="val 50000"/>
                </a:avLst>
              </a:prstGeom>
              <a:noFill/>
              <a:ln w="28575" algn="ctr">
                <a:solidFill>
                  <a:srgbClr val="0080B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endParaRPr lang="de-DE" altLang="de-DE" sz="1200">
                  <a:solidFill>
                    <a:srgbClr val="0080B6"/>
                  </a:solidFill>
                  <a:latin typeface="+mj-lt"/>
                </a:endParaRPr>
              </a:p>
            </p:txBody>
          </p:sp>
          <p:sp>
            <p:nvSpPr>
              <p:cNvPr id="43" name="Rechteck 12">
                <a:extLst>
                  <a:ext uri="{FF2B5EF4-FFF2-40B4-BE49-F238E27FC236}">
                    <a16:creationId xmlns:a16="http://schemas.microsoft.com/office/drawing/2014/main" id="{B3932AE1-B756-49A8-91CD-7796CBFE0140}"/>
                  </a:ext>
                </a:extLst>
              </p:cNvPr>
              <p:cNvSpPr>
                <a:spLocks noChangeArrowheads="1"/>
              </p:cNvSpPr>
              <p:nvPr/>
            </p:nvSpPr>
            <p:spPr bwMode="auto">
              <a:xfrm>
                <a:off x="2162056" y="5422416"/>
                <a:ext cx="1079465" cy="414936"/>
              </a:xfrm>
              <a:prstGeom prst="rect">
                <a:avLst/>
              </a:prstGeom>
              <a:noFill/>
              <a:ln w="9525">
                <a:noFill/>
                <a:miter lim="800000"/>
                <a:headEnd/>
                <a:tailEnd/>
              </a:ln>
            </p:spPr>
            <p:txBody>
              <a:bodyPr>
                <a:spAutoFit/>
              </a:bodyPr>
              <a:lstStyle/>
              <a:p>
                <a:pPr>
                  <a:buClrTx/>
                  <a:buFont typeface="Wingdings" panose="05000000000000000000" pitchFamily="2" charset="2"/>
                  <a:buNone/>
                  <a:defRPr/>
                </a:pPr>
                <a:r>
                  <a:rPr lang="en-US" sz="1200" dirty="0">
                    <a:solidFill>
                      <a:srgbClr val="0080B6"/>
                    </a:solidFill>
                    <a:latin typeface="+mj-lt"/>
                  </a:rPr>
                  <a:t>Date and time</a:t>
                </a:r>
              </a:p>
              <a:p>
                <a:pPr>
                  <a:buClrTx/>
                  <a:buFont typeface="Wingdings" panose="05000000000000000000" pitchFamily="2" charset="2"/>
                  <a:buNone/>
                  <a:defRPr/>
                </a:pPr>
                <a:r>
                  <a:rPr lang="en-US" sz="1200" dirty="0">
                    <a:solidFill>
                      <a:srgbClr val="0080B6"/>
                    </a:solidFill>
                    <a:latin typeface="+mj-lt"/>
                  </a:rPr>
                  <a:t>(text format)</a:t>
                </a:r>
              </a:p>
            </p:txBody>
          </p:sp>
          <p:sp>
            <p:nvSpPr>
              <p:cNvPr id="13323" name="Geschweifte Klammer links 43">
                <a:extLst>
                  <a:ext uri="{FF2B5EF4-FFF2-40B4-BE49-F238E27FC236}">
                    <a16:creationId xmlns:a16="http://schemas.microsoft.com/office/drawing/2014/main" id="{C0DF8308-43F1-4D2D-A362-E38834E83914}"/>
                  </a:ext>
                </a:extLst>
              </p:cNvPr>
              <p:cNvSpPr>
                <a:spLocks/>
              </p:cNvSpPr>
              <p:nvPr/>
            </p:nvSpPr>
            <p:spPr bwMode="auto">
              <a:xfrm rot="-5400000">
                <a:off x="4103948" y="4545124"/>
                <a:ext cx="288032" cy="1368152"/>
              </a:xfrm>
              <a:prstGeom prst="leftBrace">
                <a:avLst>
                  <a:gd name="adj1" fmla="val 8334"/>
                  <a:gd name="adj2" fmla="val 50000"/>
                </a:avLst>
              </a:prstGeom>
              <a:noFill/>
              <a:ln w="28575" algn="ctr">
                <a:solidFill>
                  <a:srgbClr val="0080B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endParaRPr lang="de-DE" altLang="de-DE" sz="1200">
                  <a:solidFill>
                    <a:srgbClr val="0080B6"/>
                  </a:solidFill>
                  <a:latin typeface="+mj-lt"/>
                </a:endParaRPr>
              </a:p>
            </p:txBody>
          </p:sp>
          <p:sp>
            <p:nvSpPr>
              <p:cNvPr id="45" name="Rechteck 12">
                <a:extLst>
                  <a:ext uri="{FF2B5EF4-FFF2-40B4-BE49-F238E27FC236}">
                    <a16:creationId xmlns:a16="http://schemas.microsoft.com/office/drawing/2014/main" id="{3B2AAEA2-814F-4855-BCC3-60FC6755CA9F}"/>
                  </a:ext>
                </a:extLst>
              </p:cNvPr>
              <p:cNvSpPr>
                <a:spLocks noChangeArrowheads="1"/>
              </p:cNvSpPr>
              <p:nvPr/>
            </p:nvSpPr>
            <p:spPr bwMode="auto">
              <a:xfrm>
                <a:off x="3779667" y="5444642"/>
                <a:ext cx="1081052" cy="414936"/>
              </a:xfrm>
              <a:prstGeom prst="rect">
                <a:avLst/>
              </a:prstGeom>
              <a:noFill/>
              <a:ln w="9525">
                <a:noFill/>
                <a:miter lim="800000"/>
                <a:headEnd/>
                <a:tailEnd/>
              </a:ln>
            </p:spPr>
            <p:txBody>
              <a:bodyPr>
                <a:spAutoFit/>
              </a:bodyPr>
              <a:lstStyle/>
              <a:p>
                <a:pPr>
                  <a:buClrTx/>
                  <a:buFont typeface="Wingdings" panose="05000000000000000000" pitchFamily="2" charset="2"/>
                  <a:buNone/>
                  <a:defRPr/>
                </a:pPr>
                <a:r>
                  <a:rPr lang="en-US" sz="1200">
                    <a:solidFill>
                      <a:srgbClr val="0080B6"/>
                    </a:solidFill>
                    <a:latin typeface="+mj-lt"/>
                  </a:rPr>
                  <a:t>Date and time</a:t>
                </a:r>
              </a:p>
              <a:p>
                <a:pPr>
                  <a:buClrTx/>
                  <a:buFont typeface="Wingdings" panose="05000000000000000000" pitchFamily="2" charset="2"/>
                  <a:buNone/>
                  <a:defRPr/>
                </a:pPr>
                <a:r>
                  <a:rPr lang="en-US" sz="1200">
                    <a:solidFill>
                      <a:srgbClr val="0080B6"/>
                    </a:solidFill>
                    <a:latin typeface="+mj-lt"/>
                  </a:rPr>
                  <a:t>(OLE format)</a:t>
                </a:r>
              </a:p>
            </p:txBody>
          </p:sp>
          <p:sp>
            <p:nvSpPr>
              <p:cNvPr id="48" name="Rechteck 12">
                <a:extLst>
                  <a:ext uri="{FF2B5EF4-FFF2-40B4-BE49-F238E27FC236}">
                    <a16:creationId xmlns:a16="http://schemas.microsoft.com/office/drawing/2014/main" id="{70F2AFDF-458F-4E28-9473-FB3C3287421C}"/>
                  </a:ext>
                </a:extLst>
              </p:cNvPr>
              <p:cNvSpPr>
                <a:spLocks noChangeArrowheads="1"/>
              </p:cNvSpPr>
              <p:nvPr/>
            </p:nvSpPr>
            <p:spPr bwMode="auto">
              <a:xfrm>
                <a:off x="4355911" y="5949475"/>
                <a:ext cx="1728733" cy="207468"/>
              </a:xfrm>
              <a:prstGeom prst="rect">
                <a:avLst/>
              </a:prstGeom>
              <a:noFill/>
              <a:ln w="9525">
                <a:noFill/>
                <a:miter lim="800000"/>
                <a:headEnd/>
                <a:tailEnd/>
              </a:ln>
            </p:spPr>
            <p:txBody>
              <a:bodyPr>
                <a:spAutoFit/>
              </a:bodyPr>
              <a:lstStyle/>
              <a:p>
                <a:pPr>
                  <a:buClrTx/>
                  <a:buFont typeface="Wingdings" panose="05000000000000000000" pitchFamily="2" charset="2"/>
                  <a:buNone/>
                  <a:defRPr/>
                </a:pPr>
                <a:r>
                  <a:rPr lang="en-US" sz="1200">
                    <a:solidFill>
                      <a:srgbClr val="0080B6"/>
                    </a:solidFill>
                    <a:latin typeface="+mj-lt"/>
                  </a:rPr>
                  <a:t>Sequence entry number</a:t>
                </a:r>
              </a:p>
            </p:txBody>
          </p:sp>
          <p:cxnSp>
            <p:nvCxnSpPr>
              <p:cNvPr id="13326" name="Gerade Verbindung mit Pfeil 48">
                <a:extLst>
                  <a:ext uri="{FF2B5EF4-FFF2-40B4-BE49-F238E27FC236}">
                    <a16:creationId xmlns:a16="http://schemas.microsoft.com/office/drawing/2014/main" id="{AD26F953-729B-4AE8-ADDB-70A52AC79A15}"/>
                  </a:ext>
                </a:extLst>
              </p:cNvPr>
              <p:cNvCxnSpPr>
                <a:cxnSpLocks noChangeShapeType="1"/>
              </p:cNvCxnSpPr>
              <p:nvPr/>
            </p:nvCxnSpPr>
            <p:spPr bwMode="auto">
              <a:xfrm flipV="1">
                <a:off x="5076056" y="5013176"/>
                <a:ext cx="0" cy="864096"/>
              </a:xfrm>
              <a:prstGeom prst="straightConnector1">
                <a:avLst/>
              </a:prstGeom>
              <a:noFill/>
              <a:ln w="28575" algn="ctr">
                <a:solidFill>
                  <a:srgbClr val="0080B6"/>
                </a:solidFill>
                <a:round/>
                <a:headEnd/>
                <a:tailEnd type="arrow" w="med" len="med"/>
              </a:ln>
              <a:extLst>
                <a:ext uri="{909E8E84-426E-40DD-AFC4-6F175D3DCCD1}">
                  <a14:hiddenFill xmlns:a14="http://schemas.microsoft.com/office/drawing/2010/main">
                    <a:noFill/>
                  </a14:hiddenFill>
                </a:ext>
              </a:extLst>
            </p:spPr>
          </p:cxnSp>
          <p:sp>
            <p:nvSpPr>
              <p:cNvPr id="54" name="Rechteck 12">
                <a:extLst>
                  <a:ext uri="{FF2B5EF4-FFF2-40B4-BE49-F238E27FC236}">
                    <a16:creationId xmlns:a16="http://schemas.microsoft.com/office/drawing/2014/main" id="{747746DE-40CC-4B87-B3F3-107C129EA60D}"/>
                  </a:ext>
                </a:extLst>
              </p:cNvPr>
              <p:cNvSpPr>
                <a:spLocks noChangeArrowheads="1"/>
              </p:cNvSpPr>
              <p:nvPr/>
            </p:nvSpPr>
            <p:spPr bwMode="auto">
              <a:xfrm>
                <a:off x="5469267" y="5742007"/>
                <a:ext cx="2449912" cy="207468"/>
              </a:xfrm>
              <a:prstGeom prst="rect">
                <a:avLst/>
              </a:prstGeom>
              <a:noFill/>
              <a:ln w="9525">
                <a:noFill/>
                <a:miter lim="800000"/>
                <a:headEnd/>
                <a:tailEnd/>
              </a:ln>
            </p:spPr>
            <p:txBody>
              <a:bodyPr wrap="square">
                <a:spAutoFit/>
              </a:bodyPr>
              <a:lstStyle/>
              <a:p>
                <a:pPr>
                  <a:buClrTx/>
                  <a:buFont typeface="Wingdings" panose="05000000000000000000" pitchFamily="2" charset="2"/>
                  <a:buNone/>
                  <a:defRPr/>
                </a:pPr>
                <a:r>
                  <a:rPr lang="en-US" sz="1200" dirty="0">
                    <a:solidFill>
                      <a:srgbClr val="0080B6"/>
                    </a:solidFill>
                    <a:latin typeface="+mj-lt"/>
                  </a:rPr>
                  <a:t>Trend entry type: 1= data, 2= state </a:t>
                </a:r>
              </a:p>
            </p:txBody>
          </p:sp>
          <p:cxnSp>
            <p:nvCxnSpPr>
              <p:cNvPr id="13328" name="Gerade Verbindung mit Pfeil 54">
                <a:extLst>
                  <a:ext uri="{FF2B5EF4-FFF2-40B4-BE49-F238E27FC236}">
                    <a16:creationId xmlns:a16="http://schemas.microsoft.com/office/drawing/2014/main" id="{944F8D00-AA15-4AF6-9994-ECB474EEA3D6}"/>
                  </a:ext>
                </a:extLst>
              </p:cNvPr>
              <p:cNvCxnSpPr>
                <a:cxnSpLocks noChangeShapeType="1"/>
              </p:cNvCxnSpPr>
              <p:nvPr/>
            </p:nvCxnSpPr>
            <p:spPr bwMode="auto">
              <a:xfrm flipH="1" flipV="1">
                <a:off x="5220072" y="4941168"/>
                <a:ext cx="432048" cy="792088"/>
              </a:xfrm>
              <a:prstGeom prst="straightConnector1">
                <a:avLst/>
              </a:prstGeom>
              <a:noFill/>
              <a:ln w="28575" algn="ctr">
                <a:solidFill>
                  <a:srgbClr val="0080B6"/>
                </a:solidFill>
                <a:round/>
                <a:headEnd/>
                <a:tailEnd type="arrow" w="med" len="med"/>
              </a:ln>
              <a:extLst>
                <a:ext uri="{909E8E84-426E-40DD-AFC4-6F175D3DCCD1}">
                  <a14:hiddenFill xmlns:a14="http://schemas.microsoft.com/office/drawing/2010/main">
                    <a:noFill/>
                  </a14:hiddenFill>
                </a:ext>
              </a:extLst>
            </p:spPr>
          </p:cxnSp>
          <p:sp>
            <p:nvSpPr>
              <p:cNvPr id="58" name="Rechteck 12">
                <a:extLst>
                  <a:ext uri="{FF2B5EF4-FFF2-40B4-BE49-F238E27FC236}">
                    <a16:creationId xmlns:a16="http://schemas.microsoft.com/office/drawing/2014/main" id="{3591EF53-DEA4-4F1E-BC72-7FB039E2A8F7}"/>
                  </a:ext>
                </a:extLst>
              </p:cNvPr>
              <p:cNvSpPr>
                <a:spLocks noChangeArrowheads="1"/>
              </p:cNvSpPr>
              <p:nvPr/>
            </p:nvSpPr>
            <p:spPr bwMode="auto">
              <a:xfrm>
                <a:off x="5940185" y="5301764"/>
                <a:ext cx="936595" cy="207468"/>
              </a:xfrm>
              <a:prstGeom prst="rect">
                <a:avLst/>
              </a:prstGeom>
              <a:noFill/>
              <a:ln w="9525">
                <a:noFill/>
                <a:miter lim="800000"/>
                <a:headEnd/>
                <a:tailEnd/>
              </a:ln>
            </p:spPr>
            <p:txBody>
              <a:bodyPr>
                <a:spAutoFit/>
              </a:bodyPr>
              <a:lstStyle/>
              <a:p>
                <a:pPr>
                  <a:buClrTx/>
                  <a:buFont typeface="Wingdings" panose="05000000000000000000" pitchFamily="2" charset="2"/>
                  <a:buNone/>
                  <a:defRPr/>
                </a:pPr>
                <a:r>
                  <a:rPr lang="en-US" sz="1200">
                    <a:solidFill>
                      <a:srgbClr val="0080B6"/>
                    </a:solidFill>
                    <a:latin typeface="+mj-lt"/>
                  </a:rPr>
                  <a:t>Trend data</a:t>
                </a:r>
              </a:p>
            </p:txBody>
          </p:sp>
          <p:cxnSp>
            <p:nvCxnSpPr>
              <p:cNvPr id="13330" name="Gerade Verbindung mit Pfeil 58">
                <a:extLst>
                  <a:ext uri="{FF2B5EF4-FFF2-40B4-BE49-F238E27FC236}">
                    <a16:creationId xmlns:a16="http://schemas.microsoft.com/office/drawing/2014/main" id="{4BDD37C4-75BA-4DC9-A59C-7A4AD15BF569}"/>
                  </a:ext>
                </a:extLst>
              </p:cNvPr>
              <p:cNvCxnSpPr>
                <a:cxnSpLocks noChangeShapeType="1"/>
              </p:cNvCxnSpPr>
              <p:nvPr/>
            </p:nvCxnSpPr>
            <p:spPr bwMode="auto">
              <a:xfrm flipH="1" flipV="1">
                <a:off x="5508104" y="5013176"/>
                <a:ext cx="504056" cy="360040"/>
              </a:xfrm>
              <a:prstGeom prst="straightConnector1">
                <a:avLst/>
              </a:prstGeom>
              <a:noFill/>
              <a:ln w="28575" algn="ctr">
                <a:solidFill>
                  <a:srgbClr val="0080B6"/>
                </a:solidFill>
                <a:round/>
                <a:headEnd/>
                <a:tailEnd type="arrow" w="med" len="med"/>
              </a:ln>
              <a:extLst>
                <a:ext uri="{909E8E84-426E-40DD-AFC4-6F175D3DCCD1}">
                  <a14:hiddenFill xmlns:a14="http://schemas.microsoft.com/office/drawing/2010/main">
                    <a:noFill/>
                  </a14:hiddenFill>
                </a:ext>
              </a:extLst>
            </p:spPr>
          </p:cxnSp>
        </p:grpSp>
        <p:sp>
          <p:nvSpPr>
            <p:cNvPr id="13319" name="Geschweifte Klammer links 61">
              <a:extLst>
                <a:ext uri="{FF2B5EF4-FFF2-40B4-BE49-F238E27FC236}">
                  <a16:creationId xmlns:a16="http://schemas.microsoft.com/office/drawing/2014/main" id="{AFA2324F-F0DA-4E6E-9565-6E1B08631645}"/>
                </a:ext>
              </a:extLst>
            </p:cNvPr>
            <p:cNvSpPr>
              <a:spLocks/>
            </p:cNvSpPr>
            <p:nvPr/>
          </p:nvSpPr>
          <p:spPr bwMode="auto">
            <a:xfrm>
              <a:off x="2928937" y="3141664"/>
              <a:ext cx="261938" cy="1800225"/>
            </a:xfrm>
            <a:prstGeom prst="leftBrace">
              <a:avLst>
                <a:gd name="adj1" fmla="val 8336"/>
                <a:gd name="adj2" fmla="val 50000"/>
              </a:avLst>
            </a:prstGeom>
            <a:noFill/>
            <a:ln w="28575" algn="ctr">
              <a:solidFill>
                <a:srgbClr val="0080B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endParaRPr lang="de-DE" altLang="de-DE" sz="1200">
                <a:latin typeface="+mj-lt"/>
              </a:endParaRPr>
            </a:p>
          </p:txBody>
        </p:sp>
      </p:grpSp>
      <p:sp>
        <p:nvSpPr>
          <p:cNvPr id="36" name="cdtText Box 4 Id114692">
            <a:extLst>
              <a:ext uri="{FF2B5EF4-FFF2-40B4-BE49-F238E27FC236}">
                <a16:creationId xmlns:a16="http://schemas.microsoft.com/office/drawing/2014/main" id="{F7673C93-25F4-4520-A30E-F2EE1ADBAC9E}"/>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latin typeface="+mn-lt"/>
              </a:rPr>
              <a:t>Reading the exported data</a:t>
            </a:r>
          </a:p>
        </p:txBody>
      </p:sp>
      <p:sp>
        <p:nvSpPr>
          <p:cNvPr id="37" name="Textfeld 337">
            <a:extLst>
              <a:ext uri="{FF2B5EF4-FFF2-40B4-BE49-F238E27FC236}">
                <a16:creationId xmlns:a16="http://schemas.microsoft.com/office/drawing/2014/main" id="{033ED0F8-4AED-42E6-BE44-F9C84CA756FA}"/>
              </a:ext>
            </a:extLst>
          </p:cNvPr>
          <p:cNvSpPr txBox="1"/>
          <p:nvPr/>
        </p:nvSpPr>
        <p:spPr>
          <a:xfrm>
            <a:off x="-1" y="4413970"/>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Trend logging / Archive</a:t>
            </a:r>
            <a:endParaRPr lang="en-US" sz="1100" b="0" u="none" strike="noStrike" kern="1200" dirty="0">
              <a:effectLst/>
              <a:latin typeface="+mj-lt"/>
              <a:ea typeface="+mn-ea"/>
            </a:endParaRPr>
          </a:p>
        </p:txBody>
      </p:sp>
    </p:spTree>
    <p:extLst>
      <p:ext uri="{BB962C8B-B14F-4D97-AF65-F5344CB8AC3E}">
        <p14:creationId xmlns:p14="http://schemas.microsoft.com/office/powerpoint/2010/main" val="3938560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60A7DF81-421E-4490-8608-D85C95DEBF68}"/>
              </a:ext>
            </a:extLst>
          </p:cNvPr>
          <p:cNvSpPr txBox="1">
            <a:spLocks noChangeArrowheads="1"/>
          </p:cNvSpPr>
          <p:nvPr/>
        </p:nvSpPr>
        <p:spPr bwMode="auto">
          <a:xfrm>
            <a:off x="2337734" y="3885601"/>
            <a:ext cx="9224303" cy="308955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588" lvl="1" indent="0">
              <a:buNone/>
              <a:defRPr/>
            </a:pPr>
            <a:r>
              <a:rPr lang="en-US" sz="1600" dirty="0">
                <a:solidFill>
                  <a:srgbClr val="000000"/>
                </a:solidFill>
              </a:rPr>
              <a:t>There are </a:t>
            </a:r>
            <a:r>
              <a:rPr lang="en-US" sz="1600" b="1" dirty="0">
                <a:solidFill>
                  <a:srgbClr val="000000"/>
                </a:solidFill>
              </a:rPr>
              <a:t>two types </a:t>
            </a:r>
            <a:r>
              <a:rPr lang="en-US" sz="1600" dirty="0">
                <a:solidFill>
                  <a:srgbClr val="000000"/>
                </a:solidFill>
              </a:rPr>
              <a:t>of events which can generate alarms:</a:t>
            </a:r>
          </a:p>
          <a:p>
            <a:pPr lvl="1">
              <a:buFont typeface="Wingdings" panose="05000000000000000000" pitchFamily="2" charset="2"/>
              <a:buChar char="§"/>
              <a:defRPr/>
            </a:pPr>
            <a:endParaRPr lang="en-US" sz="1600" dirty="0">
              <a:solidFill>
                <a:srgbClr val="000000"/>
              </a:solidFill>
            </a:endParaRPr>
          </a:p>
          <a:p>
            <a:pPr marL="180975" lvl="2" indent="0">
              <a:buNone/>
              <a:defRPr/>
            </a:pPr>
            <a:r>
              <a:rPr lang="de-CH" sz="1600" b="1" dirty="0">
                <a:solidFill>
                  <a:srgbClr val="000000"/>
                </a:solidFill>
              </a:rPr>
              <a:t>Fault</a:t>
            </a:r>
            <a:r>
              <a:rPr lang="de-CH" sz="1600" dirty="0">
                <a:solidFill>
                  <a:srgbClr val="000000"/>
                </a:solidFill>
              </a:rPr>
              <a:t>, </a:t>
            </a:r>
            <a:r>
              <a:rPr lang="de-CH" sz="1600" dirty="0" err="1">
                <a:solidFill>
                  <a:srgbClr val="000000"/>
                </a:solidFill>
              </a:rPr>
              <a:t>is</a:t>
            </a:r>
            <a:r>
              <a:rPr lang="de-CH" sz="1600" dirty="0">
                <a:solidFill>
                  <a:srgbClr val="000000"/>
                </a:solidFill>
              </a:rPr>
              <a:t> </a:t>
            </a:r>
            <a:r>
              <a:rPr lang="de-CH" sz="1600" dirty="0" err="1">
                <a:solidFill>
                  <a:srgbClr val="000000"/>
                </a:solidFill>
              </a:rPr>
              <a:t>related</a:t>
            </a:r>
            <a:r>
              <a:rPr lang="de-CH" sz="1600" dirty="0">
                <a:solidFill>
                  <a:srgbClr val="000000"/>
                </a:solidFill>
              </a:rPr>
              <a:t> </a:t>
            </a:r>
            <a:r>
              <a:rPr lang="de-CH" sz="1600" dirty="0" err="1">
                <a:solidFill>
                  <a:srgbClr val="000000"/>
                </a:solidFill>
              </a:rPr>
              <a:t>to</a:t>
            </a:r>
            <a:r>
              <a:rPr lang="de-CH" sz="1600" dirty="0">
                <a:solidFill>
                  <a:srgbClr val="000000"/>
                </a:solidFill>
              </a:rPr>
              <a:t> </a:t>
            </a:r>
            <a:r>
              <a:rPr lang="de-CH" sz="1600" dirty="0" err="1">
                <a:solidFill>
                  <a:srgbClr val="000000"/>
                </a:solidFill>
              </a:rPr>
              <a:t>hardware</a:t>
            </a:r>
            <a:r>
              <a:rPr lang="de-CH" sz="1600" dirty="0">
                <a:solidFill>
                  <a:srgbClr val="000000"/>
                </a:solidFill>
              </a:rPr>
              <a:t>, </a:t>
            </a:r>
            <a:r>
              <a:rPr lang="de-CH" sz="1600" dirty="0" err="1">
                <a:solidFill>
                  <a:srgbClr val="000000"/>
                </a:solidFill>
              </a:rPr>
              <a:t>indicates</a:t>
            </a:r>
            <a:r>
              <a:rPr lang="de-CH" sz="1600" dirty="0">
                <a:solidFill>
                  <a:srgbClr val="000000"/>
                </a:solidFill>
              </a:rPr>
              <a:t> a </a:t>
            </a:r>
            <a:r>
              <a:rPr lang="de-CH" sz="1600" dirty="0" err="1">
                <a:solidFill>
                  <a:srgbClr val="000000"/>
                </a:solidFill>
              </a:rPr>
              <a:t>failure</a:t>
            </a:r>
            <a:r>
              <a:rPr lang="de-CH" sz="1600" dirty="0">
                <a:solidFill>
                  <a:srgbClr val="000000"/>
                </a:solidFill>
              </a:rPr>
              <a:t> </a:t>
            </a:r>
            <a:r>
              <a:rPr lang="de-CH" sz="1600" dirty="0" err="1">
                <a:solidFill>
                  <a:srgbClr val="000000"/>
                </a:solidFill>
              </a:rPr>
              <a:t>within</a:t>
            </a:r>
            <a:r>
              <a:rPr lang="de-CH" sz="1600" dirty="0">
                <a:solidFill>
                  <a:srgbClr val="000000"/>
                </a:solidFill>
              </a:rPr>
              <a:t> a </a:t>
            </a:r>
            <a:r>
              <a:rPr lang="de-CH" sz="1600" dirty="0" err="1">
                <a:solidFill>
                  <a:srgbClr val="000000"/>
                </a:solidFill>
              </a:rPr>
              <a:t>device</a:t>
            </a:r>
            <a:endParaRPr lang="de-CH" sz="1600" dirty="0">
              <a:solidFill>
                <a:srgbClr val="000000"/>
              </a:solidFill>
            </a:endParaRPr>
          </a:p>
          <a:p>
            <a:pPr lvl="3">
              <a:buFont typeface="Wingdings" panose="05000000000000000000" pitchFamily="2" charset="2"/>
              <a:buChar char="§"/>
              <a:defRPr/>
            </a:pPr>
            <a:r>
              <a:rPr lang="de-CH" sz="1600" dirty="0" err="1">
                <a:solidFill>
                  <a:srgbClr val="000000"/>
                </a:solidFill>
              </a:rPr>
              <a:t>wrong</a:t>
            </a:r>
            <a:r>
              <a:rPr lang="de-CH" sz="1600" dirty="0">
                <a:solidFill>
                  <a:srgbClr val="000000"/>
                </a:solidFill>
              </a:rPr>
              <a:t> </a:t>
            </a:r>
            <a:r>
              <a:rPr lang="de-CH" sz="1600" dirty="0" err="1">
                <a:solidFill>
                  <a:srgbClr val="000000"/>
                </a:solidFill>
              </a:rPr>
              <a:t>signal</a:t>
            </a:r>
            <a:r>
              <a:rPr lang="de-CH" sz="1600" dirty="0">
                <a:solidFill>
                  <a:srgbClr val="000000"/>
                </a:solidFill>
              </a:rPr>
              <a:t> type </a:t>
            </a:r>
            <a:r>
              <a:rPr lang="de-CH" sz="1600" dirty="0" err="1">
                <a:solidFill>
                  <a:srgbClr val="000000"/>
                </a:solidFill>
              </a:rPr>
              <a:t>of</a:t>
            </a:r>
            <a:r>
              <a:rPr lang="de-CH" sz="1600" dirty="0">
                <a:solidFill>
                  <a:srgbClr val="000000"/>
                </a:solidFill>
              </a:rPr>
              <a:t> </a:t>
            </a:r>
            <a:r>
              <a:rPr lang="de-CH" sz="1600" dirty="0" err="1">
                <a:solidFill>
                  <a:srgbClr val="000000"/>
                </a:solidFill>
              </a:rPr>
              <a:t>inputs</a:t>
            </a:r>
            <a:r>
              <a:rPr lang="de-CH" sz="1600" dirty="0">
                <a:solidFill>
                  <a:srgbClr val="000000"/>
                </a:solidFill>
              </a:rPr>
              <a:t> and </a:t>
            </a:r>
            <a:r>
              <a:rPr lang="de-CH" sz="1600" dirty="0" err="1">
                <a:solidFill>
                  <a:srgbClr val="000000"/>
                </a:solidFill>
              </a:rPr>
              <a:t>outputs</a:t>
            </a:r>
            <a:endParaRPr lang="de-CH" sz="1600" dirty="0">
              <a:solidFill>
                <a:srgbClr val="000000"/>
              </a:solidFill>
            </a:endParaRPr>
          </a:p>
          <a:p>
            <a:pPr lvl="3">
              <a:buFont typeface="Wingdings" panose="05000000000000000000" pitchFamily="2" charset="2"/>
              <a:buChar char="§"/>
              <a:defRPr/>
            </a:pPr>
            <a:r>
              <a:rPr lang="de-CH" sz="1600" dirty="0" err="1">
                <a:solidFill>
                  <a:srgbClr val="000000"/>
                </a:solidFill>
              </a:rPr>
              <a:t>controller</a:t>
            </a:r>
            <a:r>
              <a:rPr lang="de-CH" sz="1600" dirty="0">
                <a:solidFill>
                  <a:srgbClr val="000000"/>
                </a:solidFill>
              </a:rPr>
              <a:t> </a:t>
            </a:r>
            <a:r>
              <a:rPr lang="de-CH" sz="1600" dirty="0" err="1">
                <a:solidFill>
                  <a:srgbClr val="000000"/>
                </a:solidFill>
              </a:rPr>
              <a:t>failure</a:t>
            </a:r>
            <a:endParaRPr lang="de-CH" sz="1600" dirty="0">
              <a:solidFill>
                <a:srgbClr val="000000"/>
              </a:solidFill>
            </a:endParaRPr>
          </a:p>
          <a:p>
            <a:pPr lvl="3">
              <a:buFont typeface="Wingdings" panose="05000000000000000000" pitchFamily="2" charset="2"/>
              <a:buChar char="§"/>
              <a:defRPr/>
            </a:pPr>
            <a:endParaRPr lang="de-CH" sz="1600" dirty="0">
              <a:solidFill>
                <a:srgbClr val="000000"/>
              </a:solidFill>
            </a:endParaRPr>
          </a:p>
          <a:p>
            <a:pPr marL="180975" lvl="2" indent="0">
              <a:buNone/>
              <a:defRPr/>
            </a:pPr>
            <a:r>
              <a:rPr lang="de-CH" sz="1600" b="1" dirty="0" err="1">
                <a:solidFill>
                  <a:srgbClr val="000000"/>
                </a:solidFill>
              </a:rPr>
              <a:t>OffNormal</a:t>
            </a:r>
            <a:r>
              <a:rPr lang="de-CH" sz="1600" dirty="0">
                <a:solidFill>
                  <a:srgbClr val="000000"/>
                </a:solidFill>
              </a:rPr>
              <a:t>, </a:t>
            </a:r>
            <a:r>
              <a:rPr lang="de-CH" sz="1600" dirty="0" err="1">
                <a:solidFill>
                  <a:srgbClr val="000000"/>
                </a:solidFill>
              </a:rPr>
              <a:t>is</a:t>
            </a:r>
            <a:r>
              <a:rPr lang="de-CH" sz="1600" dirty="0">
                <a:solidFill>
                  <a:srgbClr val="000000"/>
                </a:solidFill>
              </a:rPr>
              <a:t> </a:t>
            </a:r>
            <a:r>
              <a:rPr lang="de-CH" sz="1600" dirty="0" err="1">
                <a:solidFill>
                  <a:srgbClr val="000000"/>
                </a:solidFill>
              </a:rPr>
              <a:t>related</a:t>
            </a:r>
            <a:r>
              <a:rPr lang="de-CH" sz="1600" dirty="0">
                <a:solidFill>
                  <a:srgbClr val="000000"/>
                </a:solidFill>
              </a:rPr>
              <a:t> </a:t>
            </a:r>
            <a:r>
              <a:rPr lang="de-CH" sz="1600" dirty="0" err="1">
                <a:solidFill>
                  <a:srgbClr val="000000"/>
                </a:solidFill>
              </a:rPr>
              <a:t>to</a:t>
            </a:r>
            <a:r>
              <a:rPr lang="de-CH" sz="1600" dirty="0">
                <a:solidFill>
                  <a:srgbClr val="000000"/>
                </a:solidFill>
              </a:rPr>
              <a:t> application, </a:t>
            </a:r>
            <a:r>
              <a:rPr lang="de-CH" sz="1600" dirty="0" err="1">
                <a:solidFill>
                  <a:srgbClr val="000000"/>
                </a:solidFill>
              </a:rPr>
              <a:t>indicates</a:t>
            </a:r>
            <a:r>
              <a:rPr lang="de-CH" sz="1600" dirty="0">
                <a:solidFill>
                  <a:srgbClr val="000000"/>
                </a:solidFill>
              </a:rPr>
              <a:t> abnormal </a:t>
            </a:r>
            <a:r>
              <a:rPr lang="de-CH" sz="1600" dirty="0" err="1">
                <a:solidFill>
                  <a:srgbClr val="000000"/>
                </a:solidFill>
              </a:rPr>
              <a:t>operation</a:t>
            </a:r>
            <a:r>
              <a:rPr lang="de-CH" sz="1600" dirty="0">
                <a:solidFill>
                  <a:srgbClr val="000000"/>
                </a:solidFill>
              </a:rPr>
              <a:t> </a:t>
            </a:r>
            <a:r>
              <a:rPr lang="de-CH" sz="1600" dirty="0" err="1">
                <a:solidFill>
                  <a:srgbClr val="000000"/>
                </a:solidFill>
              </a:rPr>
              <a:t>of</a:t>
            </a:r>
            <a:r>
              <a:rPr lang="de-CH" sz="1600" dirty="0">
                <a:solidFill>
                  <a:srgbClr val="000000"/>
                </a:solidFill>
              </a:rPr>
              <a:t> </a:t>
            </a:r>
            <a:r>
              <a:rPr lang="de-CH" sz="1600" dirty="0" err="1">
                <a:solidFill>
                  <a:srgbClr val="000000"/>
                </a:solidFill>
              </a:rPr>
              <a:t>the</a:t>
            </a:r>
            <a:r>
              <a:rPr lang="de-CH" sz="1600" dirty="0">
                <a:solidFill>
                  <a:srgbClr val="000000"/>
                </a:solidFill>
              </a:rPr>
              <a:t> </a:t>
            </a:r>
            <a:r>
              <a:rPr lang="de-CH" sz="1600" dirty="0" err="1">
                <a:solidFill>
                  <a:srgbClr val="000000"/>
                </a:solidFill>
              </a:rPr>
              <a:t>unit</a:t>
            </a:r>
            <a:endParaRPr lang="de-CH" sz="1600" dirty="0">
              <a:solidFill>
                <a:srgbClr val="000000"/>
              </a:solidFill>
            </a:endParaRPr>
          </a:p>
          <a:p>
            <a:pPr lvl="3">
              <a:buFont typeface="Wingdings" panose="05000000000000000000" pitchFamily="2" charset="2"/>
              <a:buChar char="§"/>
              <a:defRPr/>
            </a:pPr>
            <a:r>
              <a:rPr lang="de-CH" sz="1600" dirty="0" err="1">
                <a:solidFill>
                  <a:srgbClr val="000000"/>
                </a:solidFill>
              </a:rPr>
              <a:t>measured</a:t>
            </a:r>
            <a:r>
              <a:rPr lang="de-CH" sz="1600" dirty="0">
                <a:solidFill>
                  <a:srgbClr val="000000"/>
                </a:solidFill>
              </a:rPr>
              <a:t> </a:t>
            </a:r>
            <a:r>
              <a:rPr lang="de-CH" sz="1600" dirty="0" err="1">
                <a:solidFill>
                  <a:srgbClr val="000000"/>
                </a:solidFill>
              </a:rPr>
              <a:t>value</a:t>
            </a:r>
            <a:r>
              <a:rPr lang="de-CH" sz="1600" dirty="0">
                <a:solidFill>
                  <a:srgbClr val="000000"/>
                </a:solidFill>
              </a:rPr>
              <a:t> (e.g. </a:t>
            </a:r>
            <a:r>
              <a:rPr lang="de-CH" sz="1600" dirty="0" err="1">
                <a:solidFill>
                  <a:srgbClr val="000000"/>
                </a:solidFill>
              </a:rPr>
              <a:t>supply</a:t>
            </a:r>
            <a:r>
              <a:rPr lang="de-CH" sz="1600" dirty="0">
                <a:solidFill>
                  <a:srgbClr val="000000"/>
                </a:solidFill>
              </a:rPr>
              <a:t> </a:t>
            </a:r>
            <a:r>
              <a:rPr lang="de-CH" sz="1600" dirty="0" err="1">
                <a:solidFill>
                  <a:srgbClr val="000000"/>
                </a:solidFill>
              </a:rPr>
              <a:t>temperature</a:t>
            </a:r>
            <a:r>
              <a:rPr lang="de-CH" sz="1600" dirty="0">
                <a:solidFill>
                  <a:srgbClr val="000000"/>
                </a:solidFill>
              </a:rPr>
              <a:t>) </a:t>
            </a:r>
            <a:r>
              <a:rPr lang="de-CH" sz="1600" dirty="0" err="1">
                <a:solidFill>
                  <a:srgbClr val="000000"/>
                </a:solidFill>
              </a:rPr>
              <a:t>exceed</a:t>
            </a:r>
            <a:r>
              <a:rPr lang="de-CH" sz="1600" dirty="0">
                <a:solidFill>
                  <a:srgbClr val="000000"/>
                </a:solidFill>
              </a:rPr>
              <a:t> high </a:t>
            </a:r>
            <a:r>
              <a:rPr lang="de-CH" sz="1600" dirty="0" err="1">
                <a:solidFill>
                  <a:srgbClr val="000000"/>
                </a:solidFill>
              </a:rPr>
              <a:t>limit</a:t>
            </a:r>
            <a:r>
              <a:rPr lang="de-CH" sz="1600" dirty="0">
                <a:solidFill>
                  <a:srgbClr val="000000"/>
                </a:solidFill>
              </a:rPr>
              <a:t> </a:t>
            </a:r>
            <a:r>
              <a:rPr lang="de-CH" sz="1600" dirty="0" err="1">
                <a:solidFill>
                  <a:srgbClr val="000000"/>
                </a:solidFill>
              </a:rPr>
              <a:t>or</a:t>
            </a:r>
            <a:r>
              <a:rPr lang="de-CH" sz="1600" dirty="0">
                <a:solidFill>
                  <a:srgbClr val="000000"/>
                </a:solidFill>
              </a:rPr>
              <a:t> </a:t>
            </a:r>
            <a:r>
              <a:rPr lang="de-CH" sz="1600" dirty="0" err="1">
                <a:solidFill>
                  <a:srgbClr val="000000"/>
                </a:solidFill>
              </a:rPr>
              <a:t>low</a:t>
            </a:r>
            <a:r>
              <a:rPr lang="de-CH" sz="1600" dirty="0">
                <a:solidFill>
                  <a:srgbClr val="000000"/>
                </a:solidFill>
              </a:rPr>
              <a:t> </a:t>
            </a:r>
            <a:r>
              <a:rPr lang="de-CH" sz="1600" dirty="0" err="1">
                <a:solidFill>
                  <a:srgbClr val="000000"/>
                </a:solidFill>
              </a:rPr>
              <a:t>limit</a:t>
            </a:r>
            <a:endParaRPr lang="de-CH" sz="1600" dirty="0">
              <a:solidFill>
                <a:srgbClr val="000000"/>
              </a:solidFill>
            </a:endParaRPr>
          </a:p>
          <a:p>
            <a:pPr lvl="3">
              <a:buFont typeface="Wingdings" panose="05000000000000000000" pitchFamily="2" charset="2"/>
              <a:buChar char="§"/>
              <a:defRPr/>
            </a:pPr>
            <a:r>
              <a:rPr lang="de-CH" sz="1600" dirty="0" err="1">
                <a:solidFill>
                  <a:srgbClr val="000000"/>
                </a:solidFill>
              </a:rPr>
              <a:t>safety</a:t>
            </a:r>
            <a:r>
              <a:rPr lang="de-CH" sz="1600" dirty="0">
                <a:solidFill>
                  <a:srgbClr val="000000"/>
                </a:solidFill>
              </a:rPr>
              <a:t> </a:t>
            </a:r>
            <a:r>
              <a:rPr lang="de-CH" sz="1600" dirty="0" err="1">
                <a:solidFill>
                  <a:srgbClr val="000000"/>
                </a:solidFill>
              </a:rPr>
              <a:t>input</a:t>
            </a:r>
            <a:r>
              <a:rPr lang="de-CH" sz="1600" dirty="0">
                <a:solidFill>
                  <a:srgbClr val="000000"/>
                </a:solidFill>
              </a:rPr>
              <a:t> </a:t>
            </a:r>
            <a:r>
              <a:rPr lang="de-CH" sz="1600" dirty="0" err="1">
                <a:solidFill>
                  <a:srgbClr val="000000"/>
                </a:solidFill>
              </a:rPr>
              <a:t>receive</a:t>
            </a:r>
            <a:r>
              <a:rPr lang="de-CH" sz="1600" dirty="0">
                <a:solidFill>
                  <a:srgbClr val="000000"/>
                </a:solidFill>
              </a:rPr>
              <a:t> </a:t>
            </a:r>
            <a:r>
              <a:rPr lang="de-CH" sz="1600" dirty="0" err="1">
                <a:solidFill>
                  <a:srgbClr val="000000"/>
                </a:solidFill>
              </a:rPr>
              <a:t>active</a:t>
            </a:r>
            <a:r>
              <a:rPr lang="de-CH" sz="1600" dirty="0">
                <a:solidFill>
                  <a:srgbClr val="000000"/>
                </a:solidFill>
              </a:rPr>
              <a:t> </a:t>
            </a:r>
            <a:r>
              <a:rPr lang="de-CH" sz="1600" dirty="0" err="1">
                <a:solidFill>
                  <a:srgbClr val="000000"/>
                </a:solidFill>
              </a:rPr>
              <a:t>signal</a:t>
            </a:r>
            <a:r>
              <a:rPr lang="de-CH" sz="1600" dirty="0">
                <a:solidFill>
                  <a:srgbClr val="000000"/>
                </a:solidFill>
              </a:rPr>
              <a:t>, such </a:t>
            </a:r>
            <a:r>
              <a:rPr lang="de-CH" sz="1600" dirty="0" err="1">
                <a:solidFill>
                  <a:srgbClr val="000000"/>
                </a:solidFill>
              </a:rPr>
              <a:t>as</a:t>
            </a:r>
            <a:r>
              <a:rPr lang="de-CH" sz="1600" dirty="0">
                <a:solidFill>
                  <a:srgbClr val="000000"/>
                </a:solidFill>
              </a:rPr>
              <a:t> </a:t>
            </a:r>
            <a:r>
              <a:rPr lang="de-CH" sz="1600" dirty="0" err="1">
                <a:solidFill>
                  <a:srgbClr val="000000"/>
                </a:solidFill>
              </a:rPr>
              <a:t>fire</a:t>
            </a:r>
            <a:r>
              <a:rPr lang="de-CH" sz="1600" dirty="0">
                <a:solidFill>
                  <a:srgbClr val="000000"/>
                </a:solidFill>
              </a:rPr>
              <a:t> and </a:t>
            </a:r>
            <a:r>
              <a:rPr lang="de-CH" sz="1600" dirty="0" err="1">
                <a:solidFill>
                  <a:srgbClr val="000000"/>
                </a:solidFill>
              </a:rPr>
              <a:t>frozen</a:t>
            </a:r>
            <a:endParaRPr lang="de-CH" sz="1600" dirty="0">
              <a:solidFill>
                <a:srgbClr val="000000"/>
              </a:solidFill>
            </a:endParaRPr>
          </a:p>
          <a:p>
            <a:pPr lvl="3">
              <a:buFont typeface="Wingdings" panose="05000000000000000000" pitchFamily="2" charset="2"/>
              <a:buChar char="§"/>
              <a:defRPr/>
            </a:pPr>
            <a:r>
              <a:rPr lang="de-CH" sz="1600" dirty="0" err="1">
                <a:solidFill>
                  <a:srgbClr val="000000"/>
                </a:solidFill>
              </a:rPr>
              <a:t>binary</a:t>
            </a:r>
            <a:r>
              <a:rPr lang="de-CH" sz="1600" dirty="0">
                <a:solidFill>
                  <a:srgbClr val="000000"/>
                </a:solidFill>
              </a:rPr>
              <a:t> </a:t>
            </a:r>
            <a:r>
              <a:rPr lang="de-CH" sz="1600" dirty="0" err="1">
                <a:solidFill>
                  <a:srgbClr val="000000"/>
                </a:solidFill>
              </a:rPr>
              <a:t>output</a:t>
            </a:r>
            <a:r>
              <a:rPr lang="de-CH" sz="1600" dirty="0">
                <a:solidFill>
                  <a:srgbClr val="000000"/>
                </a:solidFill>
              </a:rPr>
              <a:t> </a:t>
            </a:r>
            <a:r>
              <a:rPr lang="de-CH" sz="1600" dirty="0" err="1">
                <a:solidFill>
                  <a:srgbClr val="000000"/>
                </a:solidFill>
              </a:rPr>
              <a:t>doesn’t</a:t>
            </a:r>
            <a:r>
              <a:rPr lang="de-CH" sz="1600" dirty="0">
                <a:solidFill>
                  <a:srgbClr val="000000"/>
                </a:solidFill>
              </a:rPr>
              <a:t> </a:t>
            </a:r>
            <a:r>
              <a:rPr lang="de-CH" sz="1600" dirty="0" err="1">
                <a:solidFill>
                  <a:srgbClr val="000000"/>
                </a:solidFill>
              </a:rPr>
              <a:t>receive</a:t>
            </a:r>
            <a:r>
              <a:rPr lang="de-CH" sz="1600" dirty="0">
                <a:solidFill>
                  <a:srgbClr val="000000"/>
                </a:solidFill>
              </a:rPr>
              <a:t> </a:t>
            </a:r>
            <a:r>
              <a:rPr lang="de-CH" sz="1600" dirty="0" err="1">
                <a:solidFill>
                  <a:srgbClr val="000000"/>
                </a:solidFill>
              </a:rPr>
              <a:t>correct</a:t>
            </a:r>
            <a:r>
              <a:rPr lang="de-CH" sz="1600" dirty="0">
                <a:solidFill>
                  <a:srgbClr val="000000"/>
                </a:solidFill>
              </a:rPr>
              <a:t> </a:t>
            </a:r>
            <a:r>
              <a:rPr lang="de-CH" sz="1600" dirty="0" err="1">
                <a:solidFill>
                  <a:srgbClr val="000000"/>
                </a:solidFill>
              </a:rPr>
              <a:t>feedback</a:t>
            </a:r>
            <a:r>
              <a:rPr lang="de-CH" sz="1600" dirty="0">
                <a:solidFill>
                  <a:srgbClr val="000000"/>
                </a:solidFill>
              </a:rPr>
              <a:t> </a:t>
            </a:r>
          </a:p>
          <a:p>
            <a:pPr lvl="2">
              <a:buFont typeface="Wingdings" panose="05000000000000000000" pitchFamily="2" charset="2"/>
              <a:buChar char="§"/>
              <a:defRPr/>
            </a:pPr>
            <a:endParaRPr lang="en-US" sz="1600" dirty="0">
              <a:solidFill>
                <a:srgbClr val="000000"/>
              </a:solidFill>
            </a:endParaRPr>
          </a:p>
        </p:txBody>
      </p:sp>
      <p:grpSp>
        <p:nvGrpSpPr>
          <p:cNvPr id="2" name="Gruppieren 1">
            <a:extLst>
              <a:ext uri="{FF2B5EF4-FFF2-40B4-BE49-F238E27FC236}">
                <a16:creationId xmlns:a16="http://schemas.microsoft.com/office/drawing/2014/main" id="{B7F4FB71-E898-4EB4-A91E-4158A8F19751}"/>
              </a:ext>
            </a:extLst>
          </p:cNvPr>
          <p:cNvGrpSpPr/>
          <p:nvPr/>
        </p:nvGrpSpPr>
        <p:grpSpPr>
          <a:xfrm>
            <a:off x="2261690" y="534813"/>
            <a:ext cx="7081738" cy="3089558"/>
            <a:chOff x="2286777" y="714648"/>
            <a:chExt cx="4697168" cy="2049239"/>
          </a:xfrm>
        </p:grpSpPr>
        <p:pic>
          <p:nvPicPr>
            <p:cNvPr id="12" name="Picture 11">
              <a:extLst>
                <a:ext uri="{FF2B5EF4-FFF2-40B4-BE49-F238E27FC236}">
                  <a16:creationId xmlns:a16="http://schemas.microsoft.com/office/drawing/2014/main" id="{68E26049-EA18-4E12-AA23-E7EF11045AA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6777" y="714648"/>
              <a:ext cx="3473645" cy="1647620"/>
            </a:xfrm>
            <a:prstGeom prst="rect">
              <a:avLst/>
            </a:prstGeom>
          </p:spPr>
        </p:pic>
        <p:sp>
          <p:nvSpPr>
            <p:cNvPr id="16" name="Explosion: 8 Points 15">
              <a:extLst>
                <a:ext uri="{FF2B5EF4-FFF2-40B4-BE49-F238E27FC236}">
                  <a16:creationId xmlns:a16="http://schemas.microsoft.com/office/drawing/2014/main" id="{EC2E7E6A-D290-4852-BCAA-83584C01BE12}"/>
                </a:ext>
              </a:extLst>
            </p:cNvPr>
            <p:cNvSpPr/>
            <p:nvPr/>
          </p:nvSpPr>
          <p:spPr bwMode="auto">
            <a:xfrm>
              <a:off x="4675514" y="1830322"/>
              <a:ext cx="287957" cy="287957"/>
            </a:xfrm>
            <a:prstGeom prst="irregularSeal1">
              <a:avLst/>
            </a:prstGeom>
            <a:solidFill>
              <a:srgbClr val="FF0000"/>
            </a:solidFill>
            <a:ln w="9525">
              <a:noFill/>
              <a:miter lim="800000"/>
              <a:headEnd/>
              <a:tailEnd/>
            </a:ln>
            <a:effectLst/>
          </p:spPr>
          <p:txBody>
            <a:bodyPr wrap="square" lIns="107972" tIns="53986" rIns="107972" bIns="53986" numCol="1" spcCol="72000" rtlCol="0" anchor="ctr">
              <a:noAutofit/>
            </a:bodyPr>
            <a:lstStyle/>
            <a:p>
              <a:pPr algn="ctr">
                <a:lnSpc>
                  <a:spcPct val="110000"/>
                </a:lnSpc>
                <a:spcBef>
                  <a:spcPct val="0"/>
                </a:spcBef>
                <a:buFont typeface="Wingdings" charset="0"/>
                <a:buNone/>
              </a:pPr>
              <a:endParaRPr lang="en-GB" sz="1799">
                <a:solidFill>
                  <a:schemeClr val="tx1"/>
                </a:solidFill>
                <a:latin typeface="+mn-lt"/>
                <a:ea typeface="Arial Unicode MS" panose="020B0604020202020204" pitchFamily="34" charset="-128"/>
                <a:cs typeface="Arial Unicode MS" panose="020B0604020202020204" pitchFamily="34" charset="-128"/>
              </a:endParaRPr>
            </a:p>
          </p:txBody>
        </p:sp>
        <p:sp>
          <p:nvSpPr>
            <p:cNvPr id="17" name="Explosion: 8 Points 16">
              <a:extLst>
                <a:ext uri="{FF2B5EF4-FFF2-40B4-BE49-F238E27FC236}">
                  <a16:creationId xmlns:a16="http://schemas.microsoft.com/office/drawing/2014/main" id="{CFD5E995-EBDB-4F0D-82A9-ECB9F3435978}"/>
                </a:ext>
              </a:extLst>
            </p:cNvPr>
            <p:cNvSpPr/>
            <p:nvPr/>
          </p:nvSpPr>
          <p:spPr bwMode="auto">
            <a:xfrm>
              <a:off x="3747662" y="2074311"/>
              <a:ext cx="287957" cy="287957"/>
            </a:xfrm>
            <a:prstGeom prst="irregularSeal1">
              <a:avLst/>
            </a:prstGeom>
            <a:solidFill>
              <a:srgbClr val="FF0000"/>
            </a:solidFill>
            <a:ln w="9525">
              <a:noFill/>
              <a:miter lim="800000"/>
              <a:headEnd/>
              <a:tailEnd/>
            </a:ln>
            <a:effectLst/>
          </p:spPr>
          <p:txBody>
            <a:bodyPr wrap="square" lIns="107972" tIns="53986" rIns="107972" bIns="53986" numCol="1" spcCol="72000" rtlCol="0" anchor="ctr">
              <a:noAutofit/>
            </a:bodyPr>
            <a:lstStyle/>
            <a:p>
              <a:pPr algn="ctr">
                <a:lnSpc>
                  <a:spcPct val="110000"/>
                </a:lnSpc>
                <a:spcBef>
                  <a:spcPct val="0"/>
                </a:spcBef>
                <a:buFont typeface="Wingdings" charset="0"/>
                <a:buNone/>
              </a:pPr>
              <a:endParaRPr lang="en-GB" sz="1799">
                <a:solidFill>
                  <a:schemeClr val="tx1"/>
                </a:solidFill>
                <a:latin typeface="+mn-lt"/>
                <a:ea typeface="Arial Unicode MS" panose="020B0604020202020204" pitchFamily="34" charset="-128"/>
                <a:cs typeface="Arial Unicode MS" panose="020B0604020202020204" pitchFamily="34" charset="-128"/>
              </a:endParaRPr>
            </a:p>
          </p:txBody>
        </p:sp>
        <p:sp>
          <p:nvSpPr>
            <p:cNvPr id="18" name="Explosion: 8 Points 17">
              <a:extLst>
                <a:ext uri="{FF2B5EF4-FFF2-40B4-BE49-F238E27FC236}">
                  <a16:creationId xmlns:a16="http://schemas.microsoft.com/office/drawing/2014/main" id="{508C1E4D-E5A8-4743-959D-0A8BA1668F8E}"/>
                </a:ext>
              </a:extLst>
            </p:cNvPr>
            <p:cNvSpPr/>
            <p:nvPr/>
          </p:nvSpPr>
          <p:spPr bwMode="auto">
            <a:xfrm>
              <a:off x="4963471" y="1190867"/>
              <a:ext cx="287957" cy="287957"/>
            </a:xfrm>
            <a:prstGeom prst="irregularSeal1">
              <a:avLst/>
            </a:prstGeom>
            <a:solidFill>
              <a:srgbClr val="FFFF00"/>
            </a:solidFill>
            <a:ln w="9525">
              <a:noFill/>
              <a:miter lim="800000"/>
              <a:headEnd/>
              <a:tailEnd/>
            </a:ln>
            <a:effectLst/>
          </p:spPr>
          <p:txBody>
            <a:bodyPr wrap="square" lIns="107972" tIns="53986" rIns="107972" bIns="53986" numCol="1" spcCol="72000" rtlCol="0" anchor="ctr">
              <a:noAutofit/>
            </a:bodyPr>
            <a:lstStyle/>
            <a:p>
              <a:pPr algn="ctr">
                <a:lnSpc>
                  <a:spcPct val="110000"/>
                </a:lnSpc>
                <a:spcBef>
                  <a:spcPct val="0"/>
                </a:spcBef>
                <a:buFont typeface="Wingdings" charset="0"/>
                <a:buNone/>
              </a:pPr>
              <a:endParaRPr lang="en-GB" sz="1799">
                <a:solidFill>
                  <a:schemeClr val="tx1"/>
                </a:solidFill>
                <a:latin typeface="+mn-lt"/>
                <a:ea typeface="Arial Unicode MS" panose="020B0604020202020204" pitchFamily="34" charset="-128"/>
                <a:cs typeface="Arial Unicode MS" panose="020B0604020202020204" pitchFamily="34" charset="-128"/>
              </a:endParaRPr>
            </a:p>
          </p:txBody>
        </p:sp>
        <p:sp>
          <p:nvSpPr>
            <p:cNvPr id="19" name="Explosion: 8 Points 18">
              <a:extLst>
                <a:ext uri="{FF2B5EF4-FFF2-40B4-BE49-F238E27FC236}">
                  <a16:creationId xmlns:a16="http://schemas.microsoft.com/office/drawing/2014/main" id="{A25D5167-8F9B-4E95-A74E-319EED052D1D}"/>
                </a:ext>
              </a:extLst>
            </p:cNvPr>
            <p:cNvSpPr/>
            <p:nvPr/>
          </p:nvSpPr>
          <p:spPr bwMode="auto">
            <a:xfrm>
              <a:off x="2978637" y="1673124"/>
              <a:ext cx="287957" cy="287957"/>
            </a:xfrm>
            <a:prstGeom prst="irregularSeal1">
              <a:avLst/>
            </a:prstGeom>
            <a:solidFill>
              <a:schemeClr val="accent3"/>
            </a:solidFill>
            <a:ln w="9525">
              <a:noFill/>
              <a:miter lim="800000"/>
              <a:headEnd/>
              <a:tailEnd/>
            </a:ln>
            <a:effectLst/>
          </p:spPr>
          <p:txBody>
            <a:bodyPr wrap="square" lIns="107972" tIns="53986" rIns="107972" bIns="53986" numCol="1" spcCol="72000" rtlCol="0" anchor="ctr">
              <a:noAutofit/>
            </a:bodyPr>
            <a:lstStyle/>
            <a:p>
              <a:pPr algn="ctr">
                <a:lnSpc>
                  <a:spcPct val="110000"/>
                </a:lnSpc>
                <a:spcBef>
                  <a:spcPct val="0"/>
                </a:spcBef>
                <a:buFont typeface="Wingdings" charset="0"/>
                <a:buNone/>
              </a:pPr>
              <a:endParaRPr lang="en-GB" sz="1799">
                <a:solidFill>
                  <a:schemeClr val="tx1"/>
                </a:solidFill>
                <a:latin typeface="+mn-lt"/>
                <a:ea typeface="Arial Unicode MS" panose="020B0604020202020204" pitchFamily="34" charset="-128"/>
                <a:cs typeface="Arial Unicode MS" panose="020B0604020202020204" pitchFamily="34" charset="-128"/>
              </a:endParaRPr>
            </a:p>
          </p:txBody>
        </p:sp>
        <p:pic>
          <p:nvPicPr>
            <p:cNvPr id="21" name="Graphic 20" descr="Monitor">
              <a:extLst>
                <a:ext uri="{FF2B5EF4-FFF2-40B4-BE49-F238E27FC236}">
                  <a16:creationId xmlns:a16="http://schemas.microsoft.com/office/drawing/2014/main" id="{6C2BF3AB-12B0-4E8D-9F3E-DD2F68DF84F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12166" y="1432889"/>
              <a:ext cx="570720" cy="570720"/>
            </a:xfrm>
            <a:prstGeom prst="rect">
              <a:avLst/>
            </a:prstGeom>
          </p:spPr>
        </p:pic>
        <p:pic>
          <p:nvPicPr>
            <p:cNvPr id="23" name="Graphic 22" descr="Smart Phone">
              <a:extLst>
                <a:ext uri="{FF2B5EF4-FFF2-40B4-BE49-F238E27FC236}">
                  <a16:creationId xmlns:a16="http://schemas.microsoft.com/office/drawing/2014/main" id="{9CD939D8-362F-4674-90A9-7A2F1A95B8F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893138" y="2167747"/>
              <a:ext cx="408777" cy="408777"/>
            </a:xfrm>
            <a:prstGeom prst="rect">
              <a:avLst/>
            </a:prstGeom>
          </p:spPr>
        </p:pic>
        <p:pic>
          <p:nvPicPr>
            <p:cNvPr id="25" name="Graphic 24" descr="Tools">
              <a:extLst>
                <a:ext uri="{FF2B5EF4-FFF2-40B4-BE49-F238E27FC236}">
                  <a16:creationId xmlns:a16="http://schemas.microsoft.com/office/drawing/2014/main" id="{48A10168-2DB3-4E98-9C44-A3BF8D81055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55778" y="2218290"/>
              <a:ext cx="307693" cy="307693"/>
            </a:xfrm>
            <a:prstGeom prst="rect">
              <a:avLst/>
            </a:prstGeom>
          </p:spPr>
        </p:pic>
        <p:pic>
          <p:nvPicPr>
            <p:cNvPr id="27" name="Graphic 26" descr="Man">
              <a:extLst>
                <a:ext uri="{FF2B5EF4-FFF2-40B4-BE49-F238E27FC236}">
                  <a16:creationId xmlns:a16="http://schemas.microsoft.com/office/drawing/2014/main" id="{5288B8AE-9943-4323-ADC3-A31EDBAC49E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108948" y="2162827"/>
              <a:ext cx="601060" cy="601060"/>
            </a:xfrm>
            <a:prstGeom prst="rect">
              <a:avLst/>
            </a:prstGeom>
          </p:spPr>
        </p:pic>
        <p:pic>
          <p:nvPicPr>
            <p:cNvPr id="29" name="Graphic 28" descr="Cloud">
              <a:extLst>
                <a:ext uri="{FF2B5EF4-FFF2-40B4-BE49-F238E27FC236}">
                  <a16:creationId xmlns:a16="http://schemas.microsoft.com/office/drawing/2014/main" id="{0CFB9DA1-B162-4317-AA2A-2F361041280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97800" y="784622"/>
              <a:ext cx="664730" cy="664730"/>
            </a:xfrm>
            <a:prstGeom prst="rect">
              <a:avLst/>
            </a:prstGeom>
          </p:spPr>
        </p:pic>
        <p:pic>
          <p:nvPicPr>
            <p:cNvPr id="30" name="Graphic 29" descr="Man">
              <a:extLst>
                <a:ext uri="{FF2B5EF4-FFF2-40B4-BE49-F238E27FC236}">
                  <a16:creationId xmlns:a16="http://schemas.microsoft.com/office/drawing/2014/main" id="{25E76135-66EB-41FD-B8E2-9F4036CCFAE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82885" y="1373241"/>
              <a:ext cx="601060" cy="601060"/>
            </a:xfrm>
            <a:prstGeom prst="rect">
              <a:avLst/>
            </a:prstGeom>
          </p:spPr>
        </p:pic>
      </p:grpSp>
      <p:sp>
        <p:nvSpPr>
          <p:cNvPr id="50" name="cdtText Box 4 Id114692">
            <a:extLst>
              <a:ext uri="{FF2B5EF4-FFF2-40B4-BE49-F238E27FC236}">
                <a16:creationId xmlns:a16="http://schemas.microsoft.com/office/drawing/2014/main" id="{60031302-AD37-41D5-BBE9-3ED353B241D6}"/>
              </a:ext>
            </a:extLst>
          </p:cNvPr>
          <p:cNvSpPr txBox="1">
            <a:spLocks noChangeArrowheads="1"/>
          </p:cNvSpPr>
          <p:nvPr/>
        </p:nvSpPr>
        <p:spPr bwMode="gray">
          <a:xfrm>
            <a:off x="2159999" y="0"/>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a:solidFill>
                  <a:schemeClr val="bg1"/>
                </a:solidFill>
              </a:rPr>
              <a:t>Alarming overview</a:t>
            </a:r>
          </a:p>
        </p:txBody>
      </p:sp>
      <p:sp>
        <p:nvSpPr>
          <p:cNvPr id="6" name="Title 5">
            <a:extLst>
              <a:ext uri="{FF2B5EF4-FFF2-40B4-BE49-F238E27FC236}">
                <a16:creationId xmlns:a16="http://schemas.microsoft.com/office/drawing/2014/main" id="{9C5EE70F-38B7-4D7E-ABE2-2FCD32BE3C53}"/>
              </a:ext>
            </a:extLst>
          </p:cNvPr>
          <p:cNvSpPr>
            <a:spLocks noGrp="1"/>
          </p:cNvSpPr>
          <p:nvPr>
            <p:ph type="title"/>
          </p:nvPr>
        </p:nvSpPr>
        <p:spPr/>
        <p:txBody>
          <a:bodyPr/>
          <a:lstStyle/>
          <a:p>
            <a:endParaRPr lang="en-US"/>
          </a:p>
        </p:txBody>
      </p:sp>
      <p:sp>
        <p:nvSpPr>
          <p:cNvPr id="51" name="Textfeld 337">
            <a:extLst>
              <a:ext uri="{FF2B5EF4-FFF2-40B4-BE49-F238E27FC236}">
                <a16:creationId xmlns:a16="http://schemas.microsoft.com/office/drawing/2014/main" id="{D706A333-FF55-4294-9AEE-E449FC309339}"/>
              </a:ext>
            </a:extLst>
          </p:cNvPr>
          <p:cNvSpPr txBox="1"/>
          <p:nvPr/>
        </p:nvSpPr>
        <p:spPr>
          <a:xfrm>
            <a:off x="-2541" y="4636355"/>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Alarming</a:t>
            </a:r>
            <a:endParaRPr lang="en-US" sz="1100" b="0" u="none" strike="noStrike" kern="1200" dirty="0">
              <a:effectLst/>
              <a:latin typeface="+mj-lt"/>
              <a:ea typeface="+mn-ea"/>
            </a:endParaRPr>
          </a:p>
        </p:txBody>
      </p:sp>
      <p:sp>
        <p:nvSpPr>
          <p:cNvPr id="28" name="Rectangle 3">
            <a:extLst>
              <a:ext uri="{FF2B5EF4-FFF2-40B4-BE49-F238E27FC236}">
                <a16:creationId xmlns:a16="http://schemas.microsoft.com/office/drawing/2014/main" id="{95F1FC88-012A-4D0C-AA18-2E9B5FB1227D}"/>
              </a:ext>
            </a:extLst>
          </p:cNvPr>
          <p:cNvSpPr txBox="1">
            <a:spLocks noChangeArrowheads="1"/>
          </p:cNvSpPr>
          <p:nvPr/>
        </p:nvSpPr>
        <p:spPr bwMode="auto">
          <a:xfrm>
            <a:off x="9185693" y="587884"/>
            <a:ext cx="2747805" cy="18797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solidFill>
                  <a:schemeClr val="tx1"/>
                </a:solidFill>
                <a:latin typeface="Arial" pitchFamily="34" charset="0"/>
                <a:ea typeface="+mn-ea"/>
                <a:cs typeface="Arial" pitchFamily="34" charset="0"/>
              </a:defRPr>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solidFill>
                  <a:schemeClr val="tx1"/>
                </a:solidFill>
                <a:latin typeface="Arial" pitchFamily="34" charset="0"/>
                <a:ea typeface="+mn-ea"/>
                <a:cs typeface="Arial" pitchFamily="34" charset="0"/>
              </a:defRPr>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80975" lvl="2" indent="0">
              <a:buNone/>
              <a:defRPr/>
            </a:pPr>
            <a:r>
              <a:rPr lang="de-CH" sz="1600" b="1" dirty="0" err="1">
                <a:solidFill>
                  <a:srgbClr val="000000"/>
                </a:solidFill>
              </a:rPr>
              <a:t>Alarming</a:t>
            </a:r>
            <a:r>
              <a:rPr lang="de-CH" sz="1600" dirty="0">
                <a:solidFill>
                  <a:srgbClr val="000000"/>
                </a:solidFill>
              </a:rPr>
              <a:t> </a:t>
            </a:r>
            <a:r>
              <a:rPr lang="de-CH" sz="1600" dirty="0" err="1">
                <a:solidFill>
                  <a:srgbClr val="000000"/>
                </a:solidFill>
              </a:rPr>
              <a:t>is</a:t>
            </a:r>
            <a:r>
              <a:rPr lang="de-CH" sz="1600" dirty="0">
                <a:solidFill>
                  <a:srgbClr val="000000"/>
                </a:solidFill>
              </a:rPr>
              <a:t> </a:t>
            </a:r>
            <a:r>
              <a:rPr lang="de-CH" sz="1600" dirty="0" err="1">
                <a:solidFill>
                  <a:srgbClr val="000000"/>
                </a:solidFill>
              </a:rPr>
              <a:t>used</a:t>
            </a:r>
            <a:r>
              <a:rPr lang="de-CH" sz="1600" dirty="0">
                <a:solidFill>
                  <a:srgbClr val="000000"/>
                </a:solidFill>
              </a:rPr>
              <a:t> </a:t>
            </a:r>
            <a:r>
              <a:rPr lang="de-CH" sz="1600" dirty="0" err="1">
                <a:solidFill>
                  <a:srgbClr val="000000"/>
                </a:solidFill>
              </a:rPr>
              <a:t>to</a:t>
            </a:r>
            <a:r>
              <a:rPr lang="de-CH" sz="1600" dirty="0">
                <a:solidFill>
                  <a:srgbClr val="000000"/>
                </a:solidFill>
              </a:rPr>
              <a:t> </a:t>
            </a:r>
            <a:r>
              <a:rPr lang="de-CH" sz="1600" dirty="0" err="1">
                <a:solidFill>
                  <a:srgbClr val="000000"/>
                </a:solidFill>
              </a:rPr>
              <a:t>indicate</a:t>
            </a:r>
            <a:r>
              <a:rPr lang="de-CH" sz="1600" dirty="0">
                <a:solidFill>
                  <a:srgbClr val="000000"/>
                </a:solidFill>
              </a:rPr>
              <a:t> </a:t>
            </a:r>
            <a:r>
              <a:rPr lang="de-CH" sz="1600" dirty="0" err="1">
                <a:solidFill>
                  <a:srgbClr val="000000"/>
                </a:solidFill>
              </a:rPr>
              <a:t>errors</a:t>
            </a:r>
            <a:r>
              <a:rPr lang="de-CH" sz="1600" dirty="0">
                <a:solidFill>
                  <a:srgbClr val="000000"/>
                </a:solidFill>
              </a:rPr>
              <a:t> and </a:t>
            </a:r>
            <a:r>
              <a:rPr lang="de-CH" sz="1600" dirty="0" err="1">
                <a:solidFill>
                  <a:srgbClr val="000000"/>
                </a:solidFill>
              </a:rPr>
              <a:t>failures</a:t>
            </a:r>
            <a:r>
              <a:rPr lang="de-CH" sz="1600" dirty="0">
                <a:solidFill>
                  <a:srgbClr val="000000"/>
                </a:solidFill>
              </a:rPr>
              <a:t> in </a:t>
            </a:r>
            <a:r>
              <a:rPr lang="de-CH" sz="1600" dirty="0" err="1">
                <a:solidFill>
                  <a:srgbClr val="000000"/>
                </a:solidFill>
              </a:rPr>
              <a:t>the</a:t>
            </a:r>
            <a:r>
              <a:rPr lang="de-CH" sz="1600" dirty="0">
                <a:solidFill>
                  <a:srgbClr val="000000"/>
                </a:solidFill>
              </a:rPr>
              <a:t> </a:t>
            </a:r>
            <a:r>
              <a:rPr lang="de-CH" sz="1600" dirty="0" err="1">
                <a:solidFill>
                  <a:srgbClr val="000000"/>
                </a:solidFill>
              </a:rPr>
              <a:t>unit</a:t>
            </a:r>
            <a:r>
              <a:rPr lang="de-CH" sz="1600" dirty="0">
                <a:solidFill>
                  <a:srgbClr val="000000"/>
                </a:solidFill>
              </a:rPr>
              <a:t> and </a:t>
            </a:r>
            <a:r>
              <a:rPr lang="de-CH" sz="1600" dirty="0" err="1">
                <a:solidFill>
                  <a:srgbClr val="000000"/>
                </a:solidFill>
              </a:rPr>
              <a:t>provide</a:t>
            </a:r>
            <a:r>
              <a:rPr lang="de-CH" sz="1600" dirty="0">
                <a:solidFill>
                  <a:srgbClr val="000000"/>
                </a:solidFill>
              </a:rPr>
              <a:t> </a:t>
            </a:r>
            <a:r>
              <a:rPr lang="de-CH" sz="1600" dirty="0" err="1">
                <a:solidFill>
                  <a:srgbClr val="000000"/>
                </a:solidFill>
              </a:rPr>
              <a:t>the</a:t>
            </a:r>
            <a:r>
              <a:rPr lang="de-CH" sz="1600" dirty="0">
                <a:solidFill>
                  <a:srgbClr val="000000"/>
                </a:solidFill>
              </a:rPr>
              <a:t> </a:t>
            </a:r>
            <a:r>
              <a:rPr lang="de-CH" sz="1600" dirty="0" err="1">
                <a:solidFill>
                  <a:srgbClr val="000000"/>
                </a:solidFill>
              </a:rPr>
              <a:t>appropriate</a:t>
            </a:r>
            <a:r>
              <a:rPr lang="de-CH" sz="1600" dirty="0">
                <a:solidFill>
                  <a:srgbClr val="000000"/>
                </a:solidFill>
              </a:rPr>
              <a:t> </a:t>
            </a:r>
            <a:r>
              <a:rPr lang="de-CH" sz="1600" dirty="0" err="1">
                <a:solidFill>
                  <a:srgbClr val="000000"/>
                </a:solidFill>
              </a:rPr>
              <a:t>actions</a:t>
            </a:r>
            <a:r>
              <a:rPr lang="de-CH" sz="1600" dirty="0">
                <a:solidFill>
                  <a:srgbClr val="000000"/>
                </a:solidFill>
              </a:rPr>
              <a:t>. </a:t>
            </a:r>
            <a:endParaRPr lang="en-US" sz="1600" dirty="0">
              <a:solidFill>
                <a:srgbClr val="000000"/>
              </a:solidFill>
            </a:endParaRPr>
          </a:p>
          <a:p>
            <a:pPr marL="180975" lvl="2" indent="0">
              <a:buNone/>
              <a:defRPr/>
            </a:pPr>
            <a:endParaRPr lang="en-US" sz="1600" dirty="0">
              <a:solidFill>
                <a:srgbClr val="000000"/>
              </a:solidFill>
            </a:endParaRPr>
          </a:p>
          <a:p>
            <a:pPr lvl="2">
              <a:defRPr/>
            </a:pPr>
            <a:r>
              <a:rPr lang="en-US" sz="1600" dirty="0">
                <a:solidFill>
                  <a:srgbClr val="000000"/>
                </a:solidFill>
              </a:rPr>
              <a:t>On site alarms (e.g. built-in HMI)</a:t>
            </a:r>
          </a:p>
          <a:p>
            <a:pPr lvl="2">
              <a:defRPr/>
            </a:pPr>
            <a:r>
              <a:rPr lang="en-US" sz="1600" dirty="0">
                <a:solidFill>
                  <a:srgbClr val="000000"/>
                </a:solidFill>
              </a:rPr>
              <a:t>Remote alarms (e.g. mobile devices, building management system, cloud)</a:t>
            </a:r>
          </a:p>
        </p:txBody>
      </p:sp>
    </p:spTree>
    <p:extLst>
      <p:ext uri="{BB962C8B-B14F-4D97-AF65-F5344CB8AC3E}">
        <p14:creationId xmlns:p14="http://schemas.microsoft.com/office/powerpoint/2010/main" val="1004559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3" end="3"/>
                                            </p:txEl>
                                          </p:spTgt>
                                        </p:tgtEl>
                                        <p:attrNameLst>
                                          <p:attrName>style.visibility</p:attrName>
                                        </p:attrNameLst>
                                      </p:cBhvr>
                                      <p:to>
                                        <p:strVal val="visible"/>
                                      </p:to>
                                    </p:set>
                                    <p:animEffect transition="in" filter="fade">
                                      <p:cBhvr>
                                        <p:cTn id="10" dur="500"/>
                                        <p:tgtEl>
                                          <p:spTgt spid="3">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fade">
                                      <p:cBhvr>
                                        <p:cTn id="13" dur="500"/>
                                        <p:tgtEl>
                                          <p:spTgt spid="3">
                                            <p:txEl>
                                              <p:pRg st="4" end="4"/>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3">
                                            <p:txEl>
                                              <p:pRg st="6" end="6"/>
                                            </p:txEl>
                                          </p:spTgt>
                                        </p:tgtEl>
                                        <p:attrNameLst>
                                          <p:attrName>style.visibility</p:attrName>
                                        </p:attrNameLst>
                                      </p:cBhvr>
                                      <p:to>
                                        <p:strVal val="visible"/>
                                      </p:to>
                                    </p:set>
                                    <p:animEffect transition="in" filter="fade">
                                      <p:cBhvr>
                                        <p:cTn id="18" dur="500"/>
                                        <p:tgtEl>
                                          <p:spTgt spid="3">
                                            <p:txEl>
                                              <p:pRg st="6" end="6"/>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animEffect transition="in" filter="fade">
                                      <p:cBhvr>
                                        <p:cTn id="21" dur="500"/>
                                        <p:tgtEl>
                                          <p:spTgt spid="3">
                                            <p:txEl>
                                              <p:pRg st="7" end="7"/>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8" end="8"/>
                                            </p:txEl>
                                          </p:spTgt>
                                        </p:tgtEl>
                                        <p:attrNameLst>
                                          <p:attrName>style.visibility</p:attrName>
                                        </p:attrNameLst>
                                      </p:cBhvr>
                                      <p:to>
                                        <p:strVal val="visible"/>
                                      </p:to>
                                    </p:set>
                                    <p:animEffect transition="in" filter="fade">
                                      <p:cBhvr>
                                        <p:cTn id="24" dur="500"/>
                                        <p:tgtEl>
                                          <p:spTgt spid="3">
                                            <p:txEl>
                                              <p:pRg st="8" end="8"/>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animEffect transition="in" filter="fade">
                                      <p:cBhvr>
                                        <p:cTn id="27"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45F2AA1A-CFD0-4539-AC05-E9CD8ABDC70B}"/>
              </a:ext>
            </a:extLst>
          </p:cNvPr>
          <p:cNvSpPr/>
          <p:nvPr/>
        </p:nvSpPr>
        <p:spPr bwMode="auto">
          <a:xfrm>
            <a:off x="4149405" y="633989"/>
            <a:ext cx="2255143" cy="5914768"/>
          </a:xfrm>
          <a:prstGeom prst="rect">
            <a:avLst/>
          </a:prstGeom>
          <a:solidFill>
            <a:schemeClr val="accent3">
              <a:lumMod val="20000"/>
              <a:lumOff val="80000"/>
              <a:alpha val="43000"/>
            </a:schemeClr>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2" name="Titel 1"/>
          <p:cNvSpPr>
            <a:spLocks noGrp="1"/>
          </p:cNvSpPr>
          <p:nvPr>
            <p:ph type="title"/>
          </p:nvPr>
        </p:nvSpPr>
        <p:spPr/>
        <p:txBody>
          <a:bodyPr/>
          <a:lstStyle/>
          <a:p>
            <a:br>
              <a:rPr lang="en-US" noProof="0"/>
            </a:br>
            <a:endParaRPr lang="en-US" noProof="0"/>
          </a:p>
        </p:txBody>
      </p:sp>
      <p:sp>
        <p:nvSpPr>
          <p:cNvPr id="63" name="cdtText Box 4 Id114692">
            <a:extLst>
              <a:ext uri="{FF2B5EF4-FFF2-40B4-BE49-F238E27FC236}">
                <a16:creationId xmlns:a16="http://schemas.microsoft.com/office/drawing/2014/main" id="{AE27FEA4-90ED-486C-9851-ECD20DF848CD}"/>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Reasons to trigger alarms</a:t>
            </a:r>
          </a:p>
        </p:txBody>
      </p:sp>
      <p:sp>
        <p:nvSpPr>
          <p:cNvPr id="38" name="Text Box 7">
            <a:extLst>
              <a:ext uri="{FF2B5EF4-FFF2-40B4-BE49-F238E27FC236}">
                <a16:creationId xmlns:a16="http://schemas.microsoft.com/office/drawing/2014/main" id="{C7393EA7-6091-4FD1-B2AB-7989165CBCDC}"/>
              </a:ext>
            </a:extLst>
          </p:cNvPr>
          <p:cNvSpPr txBox="1">
            <a:spLocks noChangeArrowheads="1"/>
          </p:cNvSpPr>
          <p:nvPr/>
        </p:nvSpPr>
        <p:spPr bwMode="auto">
          <a:xfrm>
            <a:off x="4276406" y="734820"/>
            <a:ext cx="2001139" cy="349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35991" tIns="35991" rIns="35991" bIns="35991">
            <a:spAutoFit/>
          </a:bodyPr>
          <a:lstStyle>
            <a:lvl1pPr>
              <a:buFont typeface="Wingdings" panose="05000000000000000000" pitchFamily="2" charset="2"/>
              <a:defRPr sz="2000">
                <a:solidFill>
                  <a:schemeClr val="tx1"/>
                </a:solidFill>
                <a:latin typeface="Arial" panose="020B0604020202020204" pitchFamily="34" charset="0"/>
              </a:defRPr>
            </a:lvl1pPr>
            <a:lvl2pPr marL="742950" indent="-28575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2pPr>
            <a:lvl3pPr marL="11430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3pPr>
            <a:lvl4pPr marL="16002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5000"/>
              </a:spcBef>
              <a:spcAft>
                <a:spcPct val="25000"/>
              </a:spcAft>
              <a:buClr>
                <a:schemeClr val="tx2"/>
              </a:buClr>
              <a:buFont typeface="Wingdings" panose="05000000000000000000" pitchFamily="2" charset="2"/>
              <a:buChar char="§"/>
              <a:defRPr sz="2000">
                <a:solidFill>
                  <a:schemeClr val="tx1"/>
                </a:solidFill>
                <a:latin typeface="Arial" panose="020B0604020202020204" pitchFamily="34" charset="0"/>
              </a:defRPr>
            </a:lvl9pPr>
          </a:lstStyle>
          <a:p>
            <a:pPr algn="ctr" eaLnBrk="1" hangingPunct="1">
              <a:spcBef>
                <a:spcPct val="50000"/>
              </a:spcBef>
              <a:spcAft>
                <a:spcPct val="50000"/>
              </a:spcAft>
              <a:buFontTx/>
              <a:buNone/>
            </a:pPr>
            <a:r>
              <a:rPr lang="en-US" altLang="en-US" sz="1800" b="1" dirty="0"/>
              <a:t>Reason of events</a:t>
            </a:r>
          </a:p>
        </p:txBody>
      </p:sp>
      <p:grpSp>
        <p:nvGrpSpPr>
          <p:cNvPr id="10" name="Gruppieren 9">
            <a:extLst>
              <a:ext uri="{FF2B5EF4-FFF2-40B4-BE49-F238E27FC236}">
                <a16:creationId xmlns:a16="http://schemas.microsoft.com/office/drawing/2014/main" id="{D58EE74B-EA35-46B9-B55F-B2937B0A7CFE}"/>
              </a:ext>
            </a:extLst>
          </p:cNvPr>
          <p:cNvGrpSpPr/>
          <p:nvPr/>
        </p:nvGrpSpPr>
        <p:grpSpPr>
          <a:xfrm>
            <a:off x="2696124" y="2674517"/>
            <a:ext cx="8784475" cy="1258368"/>
            <a:chOff x="2696124" y="1210746"/>
            <a:chExt cx="8784475" cy="1258368"/>
          </a:xfrm>
        </p:grpSpPr>
        <p:grpSp>
          <p:nvGrpSpPr>
            <p:cNvPr id="93" name="Gruppieren 92">
              <a:extLst>
                <a:ext uri="{FF2B5EF4-FFF2-40B4-BE49-F238E27FC236}">
                  <a16:creationId xmlns:a16="http://schemas.microsoft.com/office/drawing/2014/main" id="{E8AFB6C2-6622-451D-AB33-B51DBD9B008E}"/>
                </a:ext>
              </a:extLst>
            </p:cNvPr>
            <p:cNvGrpSpPr/>
            <p:nvPr/>
          </p:nvGrpSpPr>
          <p:grpSpPr>
            <a:xfrm>
              <a:off x="2696124" y="1210746"/>
              <a:ext cx="1453281" cy="1195044"/>
              <a:chOff x="3899816" y="4236773"/>
              <a:chExt cx="1009581" cy="784155"/>
            </a:xfrm>
          </p:grpSpPr>
          <p:grpSp>
            <p:nvGrpSpPr>
              <p:cNvPr id="94" name="Gruppieren 93">
                <a:extLst>
                  <a:ext uri="{FF2B5EF4-FFF2-40B4-BE49-F238E27FC236}">
                    <a16:creationId xmlns:a16="http://schemas.microsoft.com/office/drawing/2014/main" id="{1441CE5A-F9F4-4CED-8229-9F9793995733}"/>
                  </a:ext>
                </a:extLst>
              </p:cNvPr>
              <p:cNvGrpSpPr/>
              <p:nvPr/>
            </p:nvGrpSpPr>
            <p:grpSpPr>
              <a:xfrm>
                <a:off x="3901743" y="4236773"/>
                <a:ext cx="1007654" cy="784155"/>
                <a:chOff x="4028540" y="4765316"/>
                <a:chExt cx="1007654" cy="784155"/>
              </a:xfrm>
            </p:grpSpPr>
            <p:sp>
              <p:nvSpPr>
                <p:cNvPr id="96" name="Rechteck 95">
                  <a:extLst>
                    <a:ext uri="{FF2B5EF4-FFF2-40B4-BE49-F238E27FC236}">
                      <a16:creationId xmlns:a16="http://schemas.microsoft.com/office/drawing/2014/main" id="{AE84ECE9-E797-43A9-B52C-B2F10D9FDB2D}"/>
                    </a:ext>
                  </a:extLst>
                </p:cNvPr>
                <p:cNvSpPr/>
                <p:nvPr/>
              </p:nvSpPr>
              <p:spPr bwMode="auto">
                <a:xfrm>
                  <a:off x="4028540" y="4765316"/>
                  <a:ext cx="1007654" cy="178578"/>
                </a:xfrm>
                <a:prstGeom prst="rect">
                  <a:avLst/>
                </a:prstGeom>
                <a:solidFill>
                  <a:srgbClr val="FF8040"/>
                </a:solidFill>
                <a:ln>
                  <a:noFill/>
                </a:ln>
                <a:effectLst/>
              </p:spPr>
              <p:txBody>
                <a:bodyPr wrap="square" lIns="36000" tIns="54000" rIns="36000" bIns="54000" numCol="1" spcCol="72000" rtlCol="0" anchor="ctr">
                  <a:noAutofit/>
                </a:bodyPr>
                <a:lstStyle/>
                <a:p>
                  <a:pPr algn="l">
                    <a:lnSpc>
                      <a:spcPct val="110000"/>
                    </a:lnSpc>
                    <a:spcBef>
                      <a:spcPct val="0"/>
                    </a:spcBef>
                  </a:pPr>
                  <a:r>
                    <a:rPr lang="de-CH" sz="1200" dirty="0">
                      <a:solidFill>
                        <a:schemeClr val="tx1"/>
                      </a:solidFill>
                    </a:rPr>
                    <a:t>Binary Input       DB</a:t>
                  </a:r>
                </a:p>
              </p:txBody>
            </p:sp>
            <p:sp>
              <p:nvSpPr>
                <p:cNvPr id="97" name="Rechteck 96">
                  <a:extLst>
                    <a:ext uri="{FF2B5EF4-FFF2-40B4-BE49-F238E27FC236}">
                      <a16:creationId xmlns:a16="http://schemas.microsoft.com/office/drawing/2014/main" id="{5AB790CB-BD1C-4D78-9958-672073F1FAC7}"/>
                    </a:ext>
                  </a:extLst>
                </p:cNvPr>
                <p:cNvSpPr/>
                <p:nvPr/>
              </p:nvSpPr>
              <p:spPr bwMode="auto">
                <a:xfrm>
                  <a:off x="4028540" y="4946778"/>
                  <a:ext cx="1007654" cy="178578"/>
                </a:xfrm>
                <a:prstGeom prst="rect">
                  <a:avLst/>
                </a:prstGeom>
                <a:solidFill>
                  <a:schemeClr val="bg1"/>
                </a:solidFill>
                <a:ln>
                  <a:noFill/>
                </a:ln>
                <a:effectLst/>
              </p:spPr>
              <p:txBody>
                <a:bodyPr wrap="square" lIns="36000" tIns="54000" rIns="36000" bIns="54000" numCol="1" spcCol="72000" rtlCol="0" anchor="ctr">
                  <a:noAutofit/>
                </a:bodyPr>
                <a:lstStyle/>
                <a:p>
                  <a:pPr algn="l">
                    <a:lnSpc>
                      <a:spcPct val="110000"/>
                    </a:lnSpc>
                    <a:spcBef>
                      <a:spcPct val="0"/>
                    </a:spcBef>
                  </a:pPr>
                  <a:r>
                    <a:rPr lang="de-CH" sz="1200" dirty="0">
                      <a:solidFill>
                        <a:schemeClr val="tx1"/>
                      </a:solidFill>
                    </a:rPr>
                    <a:t>Binary Input</a:t>
                  </a:r>
                </a:p>
              </p:txBody>
            </p:sp>
            <p:sp>
              <p:nvSpPr>
                <p:cNvPr id="98" name="Rechteck 97">
                  <a:extLst>
                    <a:ext uri="{FF2B5EF4-FFF2-40B4-BE49-F238E27FC236}">
                      <a16:creationId xmlns:a16="http://schemas.microsoft.com/office/drawing/2014/main" id="{AF5457C1-C52F-48B0-A38A-57A62758065B}"/>
                    </a:ext>
                  </a:extLst>
                </p:cNvPr>
                <p:cNvSpPr/>
                <p:nvPr/>
              </p:nvSpPr>
              <p:spPr bwMode="auto">
                <a:xfrm>
                  <a:off x="4028540" y="5125359"/>
                  <a:ext cx="1007654" cy="424112"/>
                </a:xfrm>
                <a:prstGeom prst="rect">
                  <a:avLst/>
                </a:prstGeom>
                <a:solidFill>
                  <a:srgbClr val="00FFFF"/>
                </a:solidFill>
                <a:ln>
                  <a:noFill/>
                </a:ln>
                <a:effectLst/>
              </p:spPr>
              <p:txBody>
                <a:bodyPr wrap="square" lIns="36000" tIns="54000" rIns="36000" bIns="54000" numCol="1" spcCol="72000" rtlCol="0" anchor="ctr">
                  <a:noAutofit/>
                </a:bodyPr>
                <a:lstStyle/>
                <a:p>
                  <a:pPr algn="l">
                    <a:lnSpc>
                      <a:spcPct val="110000"/>
                    </a:lnSpc>
                    <a:spcBef>
                      <a:spcPct val="0"/>
                    </a:spcBef>
                  </a:pPr>
                  <a:endParaRPr lang="de-CH" sz="1200">
                    <a:solidFill>
                      <a:schemeClr val="bg1"/>
                    </a:solidFill>
                  </a:endParaRPr>
                </a:p>
              </p:txBody>
            </p:sp>
          </p:grpSp>
          <p:sp>
            <p:nvSpPr>
              <p:cNvPr id="95" name="Rechteck 94">
                <a:extLst>
                  <a:ext uri="{FF2B5EF4-FFF2-40B4-BE49-F238E27FC236}">
                    <a16:creationId xmlns:a16="http://schemas.microsoft.com/office/drawing/2014/main" id="{E4093040-6CE3-4CCE-9C2E-C64DB0445BE9}"/>
                  </a:ext>
                </a:extLst>
              </p:cNvPr>
              <p:cNvSpPr/>
              <p:nvPr/>
            </p:nvSpPr>
            <p:spPr bwMode="auto">
              <a:xfrm>
                <a:off x="3899816" y="4236774"/>
                <a:ext cx="1009581" cy="784154"/>
              </a:xfrm>
              <a:prstGeom prst="rect">
                <a:avLst/>
              </a:prstGeom>
              <a:noFill/>
              <a:ln>
                <a:solidFill>
                  <a:schemeClr val="tx1"/>
                </a:solidFill>
              </a:ln>
              <a:effectLst/>
            </p:spPr>
            <p:txBody>
              <a:bodyPr wrap="square" lIns="108000" tIns="54000" rIns="36000" bIns="54000" numCol="1" spcCol="72000" rtlCol="0" anchor="ctr">
                <a:noAutofit/>
              </a:bodyPr>
              <a:lstStyle/>
              <a:p>
                <a:pPr algn="l">
                  <a:lnSpc>
                    <a:spcPct val="110000"/>
                  </a:lnSpc>
                  <a:spcBef>
                    <a:spcPct val="0"/>
                  </a:spcBef>
                </a:pPr>
                <a:endParaRPr lang="de-CH">
                  <a:solidFill>
                    <a:schemeClr val="bg1"/>
                  </a:solidFill>
                </a:endParaRPr>
              </a:p>
            </p:txBody>
          </p:sp>
        </p:grpSp>
        <p:sp>
          <p:nvSpPr>
            <p:cNvPr id="111" name="Pfeil: nach rechts 110">
              <a:extLst>
                <a:ext uri="{FF2B5EF4-FFF2-40B4-BE49-F238E27FC236}">
                  <a16:creationId xmlns:a16="http://schemas.microsoft.com/office/drawing/2014/main" id="{64541326-2EAC-4932-A852-E6C31DA3283E}"/>
                </a:ext>
              </a:extLst>
            </p:cNvPr>
            <p:cNvSpPr/>
            <p:nvPr/>
          </p:nvSpPr>
          <p:spPr bwMode="auto">
            <a:xfrm>
              <a:off x="4152578" y="1934184"/>
              <a:ext cx="2268000" cy="534930"/>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r>
                <a:rPr lang="en-US" sz="1200" dirty="0">
                  <a:solidFill>
                    <a:schemeClr val="bg1"/>
                  </a:solidFill>
                </a:rPr>
                <a:t>Reliability</a:t>
              </a:r>
            </a:p>
          </p:txBody>
        </p:sp>
        <p:sp>
          <p:nvSpPr>
            <p:cNvPr id="113" name="Pfeil: nach rechts 112">
              <a:extLst>
                <a:ext uri="{FF2B5EF4-FFF2-40B4-BE49-F238E27FC236}">
                  <a16:creationId xmlns:a16="http://schemas.microsoft.com/office/drawing/2014/main" id="{783DCC57-8B51-4ACD-8518-B4EE0C9860E9}"/>
                </a:ext>
              </a:extLst>
            </p:cNvPr>
            <p:cNvSpPr/>
            <p:nvPr/>
          </p:nvSpPr>
          <p:spPr bwMode="auto">
            <a:xfrm>
              <a:off x="4152578" y="1368172"/>
              <a:ext cx="2268000" cy="534930"/>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r>
                <a:rPr lang="en-US" sz="1200" dirty="0" err="1">
                  <a:solidFill>
                    <a:schemeClr val="bg1"/>
                  </a:solidFill>
                </a:rPr>
                <a:t>PresentValue</a:t>
              </a:r>
              <a:r>
                <a:rPr lang="en-US" sz="1200" dirty="0">
                  <a:solidFill>
                    <a:schemeClr val="bg1"/>
                  </a:solidFill>
                </a:rPr>
                <a:t> = </a:t>
              </a:r>
              <a:r>
                <a:rPr lang="en-US" sz="1200" dirty="0" err="1">
                  <a:solidFill>
                    <a:schemeClr val="bg1"/>
                  </a:solidFill>
                </a:rPr>
                <a:t>AlarmValue</a:t>
              </a:r>
              <a:endParaRPr lang="en-US" sz="1200" dirty="0">
                <a:solidFill>
                  <a:schemeClr val="bg1"/>
                </a:solidFill>
              </a:endParaRPr>
            </a:p>
          </p:txBody>
        </p:sp>
        <p:sp>
          <p:nvSpPr>
            <p:cNvPr id="5" name="Rechteck 4">
              <a:extLst>
                <a:ext uri="{FF2B5EF4-FFF2-40B4-BE49-F238E27FC236}">
                  <a16:creationId xmlns:a16="http://schemas.microsoft.com/office/drawing/2014/main" id="{D5EA6498-0631-42A2-A599-E6D6652B5078}"/>
                </a:ext>
              </a:extLst>
            </p:cNvPr>
            <p:cNvSpPr/>
            <p:nvPr/>
          </p:nvSpPr>
          <p:spPr bwMode="auto">
            <a:xfrm>
              <a:off x="6428075" y="1377344"/>
              <a:ext cx="1310143" cy="454894"/>
            </a:xfrm>
            <a:prstGeom prst="rect">
              <a:avLst/>
            </a:prstGeom>
            <a:solidFill>
              <a:schemeClr val="accent6"/>
            </a:solidFill>
            <a:ln>
              <a:noFill/>
            </a:ln>
            <a:effectLst/>
          </p:spPr>
          <p:txBody>
            <a:bodyPr wrap="square" lIns="108000" tIns="54000" rIns="36000" bIns="54000" numCol="1" spcCol="72000" rtlCol="0" anchor="ctr">
              <a:noAutofit/>
            </a:bodyPr>
            <a:lstStyle/>
            <a:p>
              <a:pPr algn="l">
                <a:lnSpc>
                  <a:spcPct val="110000"/>
                </a:lnSpc>
                <a:spcBef>
                  <a:spcPct val="0"/>
                </a:spcBef>
              </a:pPr>
              <a:r>
                <a:rPr lang="en-US" dirty="0" err="1">
                  <a:solidFill>
                    <a:schemeClr val="bg1"/>
                  </a:solidFill>
                </a:rPr>
                <a:t>OffNormal</a:t>
              </a:r>
              <a:endParaRPr lang="en-US" dirty="0">
                <a:solidFill>
                  <a:schemeClr val="bg1"/>
                </a:solidFill>
              </a:endParaRPr>
            </a:p>
          </p:txBody>
        </p:sp>
        <p:sp>
          <p:nvSpPr>
            <p:cNvPr id="114" name="Rechteck 113">
              <a:extLst>
                <a:ext uri="{FF2B5EF4-FFF2-40B4-BE49-F238E27FC236}">
                  <a16:creationId xmlns:a16="http://schemas.microsoft.com/office/drawing/2014/main" id="{E4D8C052-0DBC-49FE-AE3E-6CFA9B8995D2}"/>
                </a:ext>
              </a:extLst>
            </p:cNvPr>
            <p:cNvSpPr/>
            <p:nvPr/>
          </p:nvSpPr>
          <p:spPr bwMode="auto">
            <a:xfrm>
              <a:off x="6422862" y="1934184"/>
              <a:ext cx="1310143" cy="501276"/>
            </a:xfrm>
            <a:prstGeom prst="rect">
              <a:avLst/>
            </a:prstGeom>
            <a:solidFill>
              <a:schemeClr val="accent6">
                <a:lumMod val="75000"/>
              </a:schemeClr>
            </a:solidFill>
            <a:ln>
              <a:noFill/>
            </a:ln>
            <a:effectLst/>
          </p:spPr>
          <p:txBody>
            <a:bodyPr wrap="square" lIns="108000" tIns="54000" rIns="36000" bIns="54000" numCol="1" spcCol="72000" rtlCol="0" anchor="ctr">
              <a:noAutofit/>
            </a:bodyPr>
            <a:lstStyle/>
            <a:p>
              <a:pPr algn="l">
                <a:lnSpc>
                  <a:spcPct val="110000"/>
                </a:lnSpc>
                <a:spcBef>
                  <a:spcPct val="0"/>
                </a:spcBef>
              </a:pPr>
              <a:r>
                <a:rPr lang="en-US" dirty="0">
                  <a:solidFill>
                    <a:schemeClr val="bg1"/>
                  </a:solidFill>
                </a:rPr>
                <a:t>Fault</a:t>
              </a:r>
            </a:p>
          </p:txBody>
        </p:sp>
        <p:sp>
          <p:nvSpPr>
            <p:cNvPr id="6" name="Rechteck 5">
              <a:extLst>
                <a:ext uri="{FF2B5EF4-FFF2-40B4-BE49-F238E27FC236}">
                  <a16:creationId xmlns:a16="http://schemas.microsoft.com/office/drawing/2014/main" id="{4B0C24A2-5376-4A78-9B2E-BE85C3183448}"/>
                </a:ext>
              </a:extLst>
            </p:cNvPr>
            <p:cNvSpPr/>
            <p:nvPr/>
          </p:nvSpPr>
          <p:spPr bwMode="auto">
            <a:xfrm>
              <a:off x="8558005" y="1396649"/>
              <a:ext cx="785167" cy="948179"/>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nSpc>
                  <a:spcPct val="110000"/>
                </a:lnSpc>
                <a:spcBef>
                  <a:spcPct val="0"/>
                </a:spcBef>
              </a:pPr>
              <a:r>
                <a:rPr lang="en-US" dirty="0">
                  <a:solidFill>
                    <a:schemeClr val="bg1"/>
                  </a:solidFill>
                </a:rPr>
                <a:t>OR</a:t>
              </a:r>
            </a:p>
          </p:txBody>
        </p:sp>
        <p:sp>
          <p:nvSpPr>
            <p:cNvPr id="115" name="Rechteck 114">
              <a:extLst>
                <a:ext uri="{FF2B5EF4-FFF2-40B4-BE49-F238E27FC236}">
                  <a16:creationId xmlns:a16="http://schemas.microsoft.com/office/drawing/2014/main" id="{14A710E2-F1BA-408D-A265-747B7B7B2D8D}"/>
                </a:ext>
              </a:extLst>
            </p:cNvPr>
            <p:cNvSpPr/>
            <p:nvPr/>
          </p:nvSpPr>
          <p:spPr bwMode="auto">
            <a:xfrm>
              <a:off x="10170456" y="1640074"/>
              <a:ext cx="1310143" cy="501276"/>
            </a:xfrm>
            <a:prstGeom prst="rect">
              <a:avLst/>
            </a:prstGeom>
            <a:solidFill>
              <a:srgbClr val="C00000"/>
            </a:solidFill>
            <a:ln>
              <a:noFill/>
            </a:ln>
            <a:effectLst/>
          </p:spPr>
          <p:txBody>
            <a:bodyPr wrap="square" lIns="108000" tIns="54000" rIns="36000" bIns="54000" numCol="1" spcCol="72000" rtlCol="0" anchor="ctr">
              <a:noAutofit/>
            </a:bodyPr>
            <a:lstStyle/>
            <a:p>
              <a:pPr algn="l">
                <a:lnSpc>
                  <a:spcPct val="110000"/>
                </a:lnSpc>
                <a:spcBef>
                  <a:spcPct val="0"/>
                </a:spcBef>
              </a:pPr>
              <a:r>
                <a:rPr lang="en-US" dirty="0">
                  <a:solidFill>
                    <a:schemeClr val="bg1"/>
                  </a:solidFill>
                </a:rPr>
                <a:t>In Alarm</a:t>
              </a:r>
            </a:p>
          </p:txBody>
        </p:sp>
        <p:sp>
          <p:nvSpPr>
            <p:cNvPr id="116" name="Pfeil: nach rechts 115">
              <a:extLst>
                <a:ext uri="{FF2B5EF4-FFF2-40B4-BE49-F238E27FC236}">
                  <a16:creationId xmlns:a16="http://schemas.microsoft.com/office/drawing/2014/main" id="{ADDD45A0-B595-45DE-917B-6A8865B9B8D1}"/>
                </a:ext>
              </a:extLst>
            </p:cNvPr>
            <p:cNvSpPr/>
            <p:nvPr/>
          </p:nvSpPr>
          <p:spPr bwMode="auto">
            <a:xfrm>
              <a:off x="7751319" y="1995144"/>
              <a:ext cx="806686" cy="349684"/>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sz="1200" dirty="0">
                <a:solidFill>
                  <a:schemeClr val="bg1"/>
                </a:solidFill>
              </a:endParaRPr>
            </a:p>
          </p:txBody>
        </p:sp>
        <p:sp>
          <p:nvSpPr>
            <p:cNvPr id="118" name="Pfeil: nach rechts 117">
              <a:extLst>
                <a:ext uri="{FF2B5EF4-FFF2-40B4-BE49-F238E27FC236}">
                  <a16:creationId xmlns:a16="http://schemas.microsoft.com/office/drawing/2014/main" id="{E69947DB-92C7-4C43-901A-21719F34A467}"/>
                </a:ext>
              </a:extLst>
            </p:cNvPr>
            <p:cNvSpPr/>
            <p:nvPr/>
          </p:nvSpPr>
          <p:spPr bwMode="auto">
            <a:xfrm>
              <a:off x="7751319" y="1429132"/>
              <a:ext cx="806686" cy="349684"/>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sz="1200" dirty="0">
                <a:solidFill>
                  <a:schemeClr val="bg1"/>
                </a:solidFill>
              </a:endParaRPr>
            </a:p>
          </p:txBody>
        </p:sp>
        <p:sp>
          <p:nvSpPr>
            <p:cNvPr id="119" name="Pfeil: nach rechts 118">
              <a:extLst>
                <a:ext uri="{FF2B5EF4-FFF2-40B4-BE49-F238E27FC236}">
                  <a16:creationId xmlns:a16="http://schemas.microsoft.com/office/drawing/2014/main" id="{E3F01786-BC96-43EE-9D7E-E86787325E43}"/>
                </a:ext>
              </a:extLst>
            </p:cNvPr>
            <p:cNvSpPr/>
            <p:nvPr/>
          </p:nvSpPr>
          <p:spPr bwMode="auto">
            <a:xfrm>
              <a:off x="9356273" y="1715870"/>
              <a:ext cx="806686" cy="349684"/>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sz="1200" dirty="0">
                <a:solidFill>
                  <a:schemeClr val="bg1"/>
                </a:solidFill>
              </a:endParaRPr>
            </a:p>
          </p:txBody>
        </p:sp>
      </p:grpSp>
      <p:sp>
        <p:nvSpPr>
          <p:cNvPr id="131" name="Textfeld 337">
            <a:extLst>
              <a:ext uri="{FF2B5EF4-FFF2-40B4-BE49-F238E27FC236}">
                <a16:creationId xmlns:a16="http://schemas.microsoft.com/office/drawing/2014/main" id="{0219A04C-C31E-4089-A36A-36F3B93D02F3}"/>
              </a:ext>
            </a:extLst>
          </p:cNvPr>
          <p:cNvSpPr txBox="1"/>
          <p:nvPr/>
        </p:nvSpPr>
        <p:spPr>
          <a:xfrm>
            <a:off x="-2541" y="4636355"/>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Alarming</a:t>
            </a:r>
            <a:endParaRPr lang="en-US" sz="1100" b="0" u="none" strike="noStrike" kern="1200" dirty="0">
              <a:effectLst/>
              <a:latin typeface="+mj-lt"/>
              <a:ea typeface="+mn-ea"/>
            </a:endParaRPr>
          </a:p>
        </p:txBody>
      </p:sp>
      <p:grpSp>
        <p:nvGrpSpPr>
          <p:cNvPr id="9" name="Gruppieren 8">
            <a:extLst>
              <a:ext uri="{FF2B5EF4-FFF2-40B4-BE49-F238E27FC236}">
                <a16:creationId xmlns:a16="http://schemas.microsoft.com/office/drawing/2014/main" id="{D5063FC8-87AF-4C10-96AD-E0FF2C4ED728}"/>
              </a:ext>
            </a:extLst>
          </p:cNvPr>
          <p:cNvGrpSpPr/>
          <p:nvPr/>
        </p:nvGrpSpPr>
        <p:grpSpPr>
          <a:xfrm>
            <a:off x="2694078" y="5712914"/>
            <a:ext cx="8774781" cy="840285"/>
            <a:chOff x="2694078" y="5712914"/>
            <a:chExt cx="8774781" cy="840285"/>
          </a:xfrm>
        </p:grpSpPr>
        <p:grpSp>
          <p:nvGrpSpPr>
            <p:cNvPr id="105" name="Gruppieren 104">
              <a:extLst>
                <a:ext uri="{FF2B5EF4-FFF2-40B4-BE49-F238E27FC236}">
                  <a16:creationId xmlns:a16="http://schemas.microsoft.com/office/drawing/2014/main" id="{A6C3632B-D61F-4601-80C1-CCA69FF4BE11}"/>
                </a:ext>
              </a:extLst>
            </p:cNvPr>
            <p:cNvGrpSpPr/>
            <p:nvPr/>
          </p:nvGrpSpPr>
          <p:grpSpPr>
            <a:xfrm>
              <a:off x="2694078" y="5712914"/>
              <a:ext cx="1453281" cy="840285"/>
              <a:chOff x="3899816" y="4236773"/>
              <a:chExt cx="1009581" cy="551372"/>
            </a:xfrm>
          </p:grpSpPr>
          <p:grpSp>
            <p:nvGrpSpPr>
              <p:cNvPr id="106" name="Gruppieren 105">
                <a:extLst>
                  <a:ext uri="{FF2B5EF4-FFF2-40B4-BE49-F238E27FC236}">
                    <a16:creationId xmlns:a16="http://schemas.microsoft.com/office/drawing/2014/main" id="{A550A9ED-3917-4EE7-AF9F-A9BBF4D177E2}"/>
                  </a:ext>
                </a:extLst>
              </p:cNvPr>
              <p:cNvGrpSpPr/>
              <p:nvPr/>
            </p:nvGrpSpPr>
            <p:grpSpPr>
              <a:xfrm>
                <a:off x="3901743" y="4236773"/>
                <a:ext cx="1007654" cy="551372"/>
                <a:chOff x="4028540" y="4765316"/>
                <a:chExt cx="1007654" cy="551372"/>
              </a:xfrm>
            </p:grpSpPr>
            <p:sp>
              <p:nvSpPr>
                <p:cNvPr id="108" name="Rechteck 107">
                  <a:extLst>
                    <a:ext uri="{FF2B5EF4-FFF2-40B4-BE49-F238E27FC236}">
                      <a16:creationId xmlns:a16="http://schemas.microsoft.com/office/drawing/2014/main" id="{FC2B505B-09AF-4E8A-B605-A6DB37BFC8C1}"/>
                    </a:ext>
                  </a:extLst>
                </p:cNvPr>
                <p:cNvSpPr/>
                <p:nvPr/>
              </p:nvSpPr>
              <p:spPr bwMode="auto">
                <a:xfrm>
                  <a:off x="4028540" y="4765316"/>
                  <a:ext cx="1007654" cy="178578"/>
                </a:xfrm>
                <a:prstGeom prst="rect">
                  <a:avLst/>
                </a:prstGeom>
                <a:solidFill>
                  <a:srgbClr val="FF8040"/>
                </a:solidFill>
                <a:ln>
                  <a:noFill/>
                </a:ln>
                <a:effectLst/>
              </p:spPr>
              <p:txBody>
                <a:bodyPr wrap="square" lIns="36000" tIns="54000" rIns="36000" bIns="54000" numCol="1" spcCol="72000" rtlCol="0" anchor="ctr">
                  <a:noAutofit/>
                </a:bodyPr>
                <a:lstStyle/>
                <a:p>
                  <a:pPr algn="l">
                    <a:lnSpc>
                      <a:spcPct val="110000"/>
                    </a:lnSpc>
                    <a:spcBef>
                      <a:spcPct val="0"/>
                    </a:spcBef>
                  </a:pPr>
                  <a:r>
                    <a:rPr lang="de-CH" sz="1200" dirty="0">
                      <a:solidFill>
                        <a:schemeClr val="tx1"/>
                      </a:solidFill>
                    </a:rPr>
                    <a:t>Analog Output    DB</a:t>
                  </a:r>
                </a:p>
              </p:txBody>
            </p:sp>
            <p:sp>
              <p:nvSpPr>
                <p:cNvPr id="109" name="Rechteck 108">
                  <a:extLst>
                    <a:ext uri="{FF2B5EF4-FFF2-40B4-BE49-F238E27FC236}">
                      <a16:creationId xmlns:a16="http://schemas.microsoft.com/office/drawing/2014/main" id="{5FE92C57-1009-416E-9335-5AE4D5A2B2DC}"/>
                    </a:ext>
                  </a:extLst>
                </p:cNvPr>
                <p:cNvSpPr/>
                <p:nvPr/>
              </p:nvSpPr>
              <p:spPr bwMode="auto">
                <a:xfrm>
                  <a:off x="4028540" y="4946778"/>
                  <a:ext cx="1007654" cy="178578"/>
                </a:xfrm>
                <a:prstGeom prst="rect">
                  <a:avLst/>
                </a:prstGeom>
                <a:solidFill>
                  <a:schemeClr val="bg1"/>
                </a:solidFill>
                <a:ln>
                  <a:noFill/>
                </a:ln>
                <a:effectLst/>
              </p:spPr>
              <p:txBody>
                <a:bodyPr wrap="square" lIns="36000" tIns="54000" rIns="36000" bIns="54000" numCol="1" spcCol="72000" rtlCol="0" anchor="ctr">
                  <a:noAutofit/>
                </a:bodyPr>
                <a:lstStyle/>
                <a:p>
                  <a:pPr algn="l">
                    <a:lnSpc>
                      <a:spcPct val="110000"/>
                    </a:lnSpc>
                    <a:spcBef>
                      <a:spcPct val="0"/>
                    </a:spcBef>
                  </a:pPr>
                  <a:r>
                    <a:rPr lang="de-CH" sz="1200" dirty="0">
                      <a:solidFill>
                        <a:schemeClr val="tx1"/>
                      </a:solidFill>
                    </a:rPr>
                    <a:t>Analog Output</a:t>
                  </a:r>
                </a:p>
              </p:txBody>
            </p:sp>
            <p:sp>
              <p:nvSpPr>
                <p:cNvPr id="110" name="Rechteck 109">
                  <a:extLst>
                    <a:ext uri="{FF2B5EF4-FFF2-40B4-BE49-F238E27FC236}">
                      <a16:creationId xmlns:a16="http://schemas.microsoft.com/office/drawing/2014/main" id="{930AF778-BCAF-4742-8818-92341D7920B4}"/>
                    </a:ext>
                  </a:extLst>
                </p:cNvPr>
                <p:cNvSpPr/>
                <p:nvPr/>
              </p:nvSpPr>
              <p:spPr bwMode="auto">
                <a:xfrm>
                  <a:off x="4028540" y="5125357"/>
                  <a:ext cx="1007654" cy="191331"/>
                </a:xfrm>
                <a:prstGeom prst="rect">
                  <a:avLst/>
                </a:prstGeom>
                <a:solidFill>
                  <a:srgbClr val="00FFFF"/>
                </a:solidFill>
                <a:ln>
                  <a:noFill/>
                </a:ln>
                <a:effectLst/>
              </p:spPr>
              <p:txBody>
                <a:bodyPr wrap="square" lIns="36000" tIns="54000" rIns="36000" bIns="54000" numCol="1" spcCol="72000" rtlCol="0" anchor="ctr">
                  <a:noAutofit/>
                </a:bodyPr>
                <a:lstStyle/>
                <a:p>
                  <a:pPr algn="l">
                    <a:lnSpc>
                      <a:spcPct val="110000"/>
                    </a:lnSpc>
                    <a:spcBef>
                      <a:spcPct val="0"/>
                    </a:spcBef>
                  </a:pPr>
                  <a:endParaRPr lang="de-CH" sz="1200">
                    <a:solidFill>
                      <a:schemeClr val="bg1"/>
                    </a:solidFill>
                  </a:endParaRPr>
                </a:p>
              </p:txBody>
            </p:sp>
          </p:grpSp>
          <p:sp>
            <p:nvSpPr>
              <p:cNvPr id="107" name="Rechteck 106">
                <a:extLst>
                  <a:ext uri="{FF2B5EF4-FFF2-40B4-BE49-F238E27FC236}">
                    <a16:creationId xmlns:a16="http://schemas.microsoft.com/office/drawing/2014/main" id="{3108A59E-91AD-4E59-A33C-8AD44B556810}"/>
                  </a:ext>
                </a:extLst>
              </p:cNvPr>
              <p:cNvSpPr/>
              <p:nvPr/>
            </p:nvSpPr>
            <p:spPr bwMode="auto">
              <a:xfrm>
                <a:off x="3899816" y="4236773"/>
                <a:ext cx="1009581" cy="551371"/>
              </a:xfrm>
              <a:prstGeom prst="rect">
                <a:avLst/>
              </a:prstGeom>
              <a:noFill/>
              <a:ln>
                <a:solidFill>
                  <a:schemeClr val="tx1"/>
                </a:solidFill>
              </a:ln>
              <a:effectLst/>
            </p:spPr>
            <p:txBody>
              <a:bodyPr wrap="square" lIns="108000" tIns="54000" rIns="36000" bIns="54000" numCol="1" spcCol="72000" rtlCol="0" anchor="ctr">
                <a:noAutofit/>
              </a:bodyPr>
              <a:lstStyle/>
              <a:p>
                <a:pPr algn="l">
                  <a:lnSpc>
                    <a:spcPct val="110000"/>
                  </a:lnSpc>
                  <a:spcBef>
                    <a:spcPct val="0"/>
                  </a:spcBef>
                </a:pPr>
                <a:endParaRPr lang="de-CH">
                  <a:solidFill>
                    <a:schemeClr val="bg1"/>
                  </a:solidFill>
                </a:endParaRPr>
              </a:p>
            </p:txBody>
          </p:sp>
        </p:grpSp>
        <p:sp>
          <p:nvSpPr>
            <p:cNvPr id="132" name="Pfeil: nach rechts 131">
              <a:extLst>
                <a:ext uri="{FF2B5EF4-FFF2-40B4-BE49-F238E27FC236}">
                  <a16:creationId xmlns:a16="http://schemas.microsoft.com/office/drawing/2014/main" id="{BA9C9DA5-8AF0-4EC7-A147-CFB4C1C2C2BF}"/>
                </a:ext>
              </a:extLst>
            </p:cNvPr>
            <p:cNvSpPr/>
            <p:nvPr/>
          </p:nvSpPr>
          <p:spPr bwMode="auto">
            <a:xfrm>
              <a:off x="4140838" y="5866925"/>
              <a:ext cx="2268000" cy="534930"/>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r>
                <a:rPr lang="en-US" sz="1200" dirty="0">
                  <a:solidFill>
                    <a:schemeClr val="bg1"/>
                  </a:solidFill>
                </a:rPr>
                <a:t>Reliability</a:t>
              </a:r>
            </a:p>
          </p:txBody>
        </p:sp>
        <p:sp>
          <p:nvSpPr>
            <p:cNvPr id="133" name="Rechteck 132">
              <a:extLst>
                <a:ext uri="{FF2B5EF4-FFF2-40B4-BE49-F238E27FC236}">
                  <a16:creationId xmlns:a16="http://schemas.microsoft.com/office/drawing/2014/main" id="{7DAE14EF-1DC9-4AFD-B49A-BB79F8EB8E7D}"/>
                </a:ext>
              </a:extLst>
            </p:cNvPr>
            <p:cNvSpPr/>
            <p:nvPr/>
          </p:nvSpPr>
          <p:spPr bwMode="auto">
            <a:xfrm>
              <a:off x="6411122" y="5866925"/>
              <a:ext cx="1310143" cy="501276"/>
            </a:xfrm>
            <a:prstGeom prst="rect">
              <a:avLst/>
            </a:prstGeom>
            <a:solidFill>
              <a:schemeClr val="accent6">
                <a:lumMod val="75000"/>
              </a:schemeClr>
            </a:solidFill>
            <a:ln>
              <a:noFill/>
            </a:ln>
            <a:effectLst/>
          </p:spPr>
          <p:txBody>
            <a:bodyPr wrap="square" lIns="108000" tIns="54000" rIns="36000" bIns="54000" numCol="1" spcCol="72000" rtlCol="0" anchor="ctr">
              <a:noAutofit/>
            </a:bodyPr>
            <a:lstStyle/>
            <a:p>
              <a:pPr algn="l">
                <a:lnSpc>
                  <a:spcPct val="110000"/>
                </a:lnSpc>
                <a:spcBef>
                  <a:spcPct val="0"/>
                </a:spcBef>
              </a:pPr>
              <a:r>
                <a:rPr lang="en-US" dirty="0">
                  <a:solidFill>
                    <a:schemeClr val="bg1"/>
                  </a:solidFill>
                </a:rPr>
                <a:t>Fault</a:t>
              </a:r>
            </a:p>
          </p:txBody>
        </p:sp>
        <p:sp>
          <p:nvSpPr>
            <p:cNvPr id="134" name="Rechteck 133">
              <a:extLst>
                <a:ext uri="{FF2B5EF4-FFF2-40B4-BE49-F238E27FC236}">
                  <a16:creationId xmlns:a16="http://schemas.microsoft.com/office/drawing/2014/main" id="{42ECCC04-EA2E-4885-858B-E639D2F1861A}"/>
                </a:ext>
              </a:extLst>
            </p:cNvPr>
            <p:cNvSpPr/>
            <p:nvPr/>
          </p:nvSpPr>
          <p:spPr bwMode="auto">
            <a:xfrm>
              <a:off x="8546265" y="5735785"/>
              <a:ext cx="785167" cy="704703"/>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nSpc>
                  <a:spcPct val="110000"/>
                </a:lnSpc>
                <a:spcBef>
                  <a:spcPct val="0"/>
                </a:spcBef>
              </a:pPr>
              <a:r>
                <a:rPr lang="en-US" dirty="0">
                  <a:solidFill>
                    <a:schemeClr val="bg1"/>
                  </a:solidFill>
                </a:rPr>
                <a:t>OR</a:t>
              </a:r>
            </a:p>
          </p:txBody>
        </p:sp>
        <p:sp>
          <p:nvSpPr>
            <p:cNvPr id="135" name="Rechteck 134">
              <a:extLst>
                <a:ext uri="{FF2B5EF4-FFF2-40B4-BE49-F238E27FC236}">
                  <a16:creationId xmlns:a16="http://schemas.microsoft.com/office/drawing/2014/main" id="{59B73405-2058-4A08-B4E2-A1AA2F68F9C9}"/>
                </a:ext>
              </a:extLst>
            </p:cNvPr>
            <p:cNvSpPr/>
            <p:nvPr/>
          </p:nvSpPr>
          <p:spPr bwMode="auto">
            <a:xfrm>
              <a:off x="10158716" y="5939212"/>
              <a:ext cx="1310143" cy="501276"/>
            </a:xfrm>
            <a:prstGeom prst="rect">
              <a:avLst/>
            </a:prstGeom>
            <a:solidFill>
              <a:srgbClr val="C00000"/>
            </a:solidFill>
            <a:ln>
              <a:noFill/>
            </a:ln>
            <a:effectLst/>
          </p:spPr>
          <p:txBody>
            <a:bodyPr wrap="square" lIns="108000" tIns="54000" rIns="36000" bIns="54000" numCol="1" spcCol="72000" rtlCol="0" anchor="ctr">
              <a:noAutofit/>
            </a:bodyPr>
            <a:lstStyle/>
            <a:p>
              <a:pPr algn="l">
                <a:lnSpc>
                  <a:spcPct val="110000"/>
                </a:lnSpc>
                <a:spcBef>
                  <a:spcPct val="0"/>
                </a:spcBef>
              </a:pPr>
              <a:r>
                <a:rPr lang="en-US" dirty="0">
                  <a:solidFill>
                    <a:schemeClr val="bg1"/>
                  </a:solidFill>
                </a:rPr>
                <a:t>In Alarm</a:t>
              </a:r>
            </a:p>
          </p:txBody>
        </p:sp>
        <p:sp>
          <p:nvSpPr>
            <p:cNvPr id="136" name="Pfeil: nach rechts 135">
              <a:extLst>
                <a:ext uri="{FF2B5EF4-FFF2-40B4-BE49-F238E27FC236}">
                  <a16:creationId xmlns:a16="http://schemas.microsoft.com/office/drawing/2014/main" id="{589CA81B-4E79-438C-A1FB-C7C199C53088}"/>
                </a:ext>
              </a:extLst>
            </p:cNvPr>
            <p:cNvSpPr/>
            <p:nvPr/>
          </p:nvSpPr>
          <p:spPr bwMode="auto">
            <a:xfrm>
              <a:off x="7739579" y="5927885"/>
              <a:ext cx="806686" cy="349684"/>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sz="1200" dirty="0">
                <a:solidFill>
                  <a:schemeClr val="bg1"/>
                </a:solidFill>
              </a:endParaRPr>
            </a:p>
          </p:txBody>
        </p:sp>
        <p:sp>
          <p:nvSpPr>
            <p:cNvPr id="137" name="Pfeil: nach rechts 136">
              <a:extLst>
                <a:ext uri="{FF2B5EF4-FFF2-40B4-BE49-F238E27FC236}">
                  <a16:creationId xmlns:a16="http://schemas.microsoft.com/office/drawing/2014/main" id="{D1DC030F-4394-4BFB-A9A1-5E82763C0409}"/>
                </a:ext>
              </a:extLst>
            </p:cNvPr>
            <p:cNvSpPr/>
            <p:nvPr/>
          </p:nvSpPr>
          <p:spPr bwMode="auto">
            <a:xfrm>
              <a:off x="9344533" y="5974420"/>
              <a:ext cx="806686" cy="349684"/>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sz="1200" dirty="0">
                <a:solidFill>
                  <a:schemeClr val="bg1"/>
                </a:solidFill>
              </a:endParaRPr>
            </a:p>
          </p:txBody>
        </p:sp>
      </p:grpSp>
      <p:grpSp>
        <p:nvGrpSpPr>
          <p:cNvPr id="4" name="Gruppieren 3">
            <a:extLst>
              <a:ext uri="{FF2B5EF4-FFF2-40B4-BE49-F238E27FC236}">
                <a16:creationId xmlns:a16="http://schemas.microsoft.com/office/drawing/2014/main" id="{3501E1C0-1B0B-44D7-A621-DFDBABCA63ED}"/>
              </a:ext>
            </a:extLst>
          </p:cNvPr>
          <p:cNvGrpSpPr/>
          <p:nvPr/>
        </p:nvGrpSpPr>
        <p:grpSpPr>
          <a:xfrm>
            <a:off x="2694078" y="4199409"/>
            <a:ext cx="8786521" cy="1249065"/>
            <a:chOff x="2694078" y="2744657"/>
            <a:chExt cx="8786521" cy="1249065"/>
          </a:xfrm>
        </p:grpSpPr>
        <p:grpSp>
          <p:nvGrpSpPr>
            <p:cNvPr id="99" name="Gruppieren 98">
              <a:extLst>
                <a:ext uri="{FF2B5EF4-FFF2-40B4-BE49-F238E27FC236}">
                  <a16:creationId xmlns:a16="http://schemas.microsoft.com/office/drawing/2014/main" id="{03D93BE8-A2D1-41AE-8351-429CCF9E2D05}"/>
                </a:ext>
              </a:extLst>
            </p:cNvPr>
            <p:cNvGrpSpPr/>
            <p:nvPr/>
          </p:nvGrpSpPr>
          <p:grpSpPr>
            <a:xfrm>
              <a:off x="2694078" y="2744657"/>
              <a:ext cx="1453281" cy="1196168"/>
              <a:chOff x="3899816" y="4236773"/>
              <a:chExt cx="1009581" cy="784893"/>
            </a:xfrm>
          </p:grpSpPr>
          <p:grpSp>
            <p:nvGrpSpPr>
              <p:cNvPr id="100" name="Gruppieren 99">
                <a:extLst>
                  <a:ext uri="{FF2B5EF4-FFF2-40B4-BE49-F238E27FC236}">
                    <a16:creationId xmlns:a16="http://schemas.microsoft.com/office/drawing/2014/main" id="{33202DBE-B3EB-4F0D-8003-592730B38B5B}"/>
                  </a:ext>
                </a:extLst>
              </p:cNvPr>
              <p:cNvGrpSpPr/>
              <p:nvPr/>
            </p:nvGrpSpPr>
            <p:grpSpPr>
              <a:xfrm>
                <a:off x="3901743" y="4236773"/>
                <a:ext cx="1007654" cy="784893"/>
                <a:chOff x="4028540" y="4765316"/>
                <a:chExt cx="1007654" cy="784893"/>
              </a:xfrm>
            </p:grpSpPr>
            <p:sp>
              <p:nvSpPr>
                <p:cNvPr id="102" name="Rechteck 101">
                  <a:extLst>
                    <a:ext uri="{FF2B5EF4-FFF2-40B4-BE49-F238E27FC236}">
                      <a16:creationId xmlns:a16="http://schemas.microsoft.com/office/drawing/2014/main" id="{582AAB54-9F4D-4075-8296-3C45E1F3382D}"/>
                    </a:ext>
                  </a:extLst>
                </p:cNvPr>
                <p:cNvSpPr/>
                <p:nvPr/>
              </p:nvSpPr>
              <p:spPr bwMode="auto">
                <a:xfrm>
                  <a:off x="4028540" y="4765316"/>
                  <a:ext cx="1007654" cy="178578"/>
                </a:xfrm>
                <a:prstGeom prst="rect">
                  <a:avLst/>
                </a:prstGeom>
                <a:solidFill>
                  <a:srgbClr val="FF8040"/>
                </a:solidFill>
                <a:ln>
                  <a:noFill/>
                </a:ln>
                <a:effectLst/>
              </p:spPr>
              <p:txBody>
                <a:bodyPr wrap="square" lIns="36000" tIns="54000" rIns="36000" bIns="54000" numCol="1" spcCol="72000" rtlCol="0" anchor="ctr">
                  <a:noAutofit/>
                </a:bodyPr>
                <a:lstStyle/>
                <a:p>
                  <a:pPr algn="l">
                    <a:lnSpc>
                      <a:spcPct val="110000"/>
                    </a:lnSpc>
                    <a:spcBef>
                      <a:spcPct val="0"/>
                    </a:spcBef>
                  </a:pPr>
                  <a:r>
                    <a:rPr lang="de-CH" sz="1200" dirty="0">
                      <a:solidFill>
                        <a:schemeClr val="tx1"/>
                      </a:solidFill>
                    </a:rPr>
                    <a:t>Analog Input       DB</a:t>
                  </a:r>
                </a:p>
              </p:txBody>
            </p:sp>
            <p:sp>
              <p:nvSpPr>
                <p:cNvPr id="103" name="Rechteck 102">
                  <a:extLst>
                    <a:ext uri="{FF2B5EF4-FFF2-40B4-BE49-F238E27FC236}">
                      <a16:creationId xmlns:a16="http://schemas.microsoft.com/office/drawing/2014/main" id="{69BBDC59-851E-4D75-A887-48878B526CC4}"/>
                    </a:ext>
                  </a:extLst>
                </p:cNvPr>
                <p:cNvSpPr/>
                <p:nvPr/>
              </p:nvSpPr>
              <p:spPr bwMode="auto">
                <a:xfrm>
                  <a:off x="4028540" y="4946778"/>
                  <a:ext cx="1007654" cy="178578"/>
                </a:xfrm>
                <a:prstGeom prst="rect">
                  <a:avLst/>
                </a:prstGeom>
                <a:solidFill>
                  <a:schemeClr val="bg1"/>
                </a:solidFill>
                <a:ln>
                  <a:noFill/>
                </a:ln>
                <a:effectLst/>
              </p:spPr>
              <p:txBody>
                <a:bodyPr wrap="square" lIns="36000" tIns="54000" rIns="36000" bIns="54000" numCol="1" spcCol="72000" rtlCol="0" anchor="ctr">
                  <a:noAutofit/>
                </a:bodyPr>
                <a:lstStyle/>
                <a:p>
                  <a:pPr algn="l">
                    <a:lnSpc>
                      <a:spcPct val="110000"/>
                    </a:lnSpc>
                    <a:spcBef>
                      <a:spcPct val="0"/>
                    </a:spcBef>
                  </a:pPr>
                  <a:r>
                    <a:rPr lang="de-CH" sz="1200" dirty="0">
                      <a:solidFill>
                        <a:schemeClr val="tx1"/>
                      </a:solidFill>
                    </a:rPr>
                    <a:t>Analog Input</a:t>
                  </a:r>
                </a:p>
              </p:txBody>
            </p:sp>
            <p:sp>
              <p:nvSpPr>
                <p:cNvPr id="104" name="Rechteck 103">
                  <a:extLst>
                    <a:ext uri="{FF2B5EF4-FFF2-40B4-BE49-F238E27FC236}">
                      <a16:creationId xmlns:a16="http://schemas.microsoft.com/office/drawing/2014/main" id="{1B11FE20-C5DE-40FF-89BD-1EC9FB11297A}"/>
                    </a:ext>
                  </a:extLst>
                </p:cNvPr>
                <p:cNvSpPr/>
                <p:nvPr/>
              </p:nvSpPr>
              <p:spPr bwMode="auto">
                <a:xfrm>
                  <a:off x="4028540" y="5125357"/>
                  <a:ext cx="1007654" cy="424852"/>
                </a:xfrm>
                <a:prstGeom prst="rect">
                  <a:avLst/>
                </a:prstGeom>
                <a:solidFill>
                  <a:srgbClr val="00FFFF"/>
                </a:solidFill>
                <a:ln>
                  <a:noFill/>
                </a:ln>
                <a:effectLst/>
              </p:spPr>
              <p:txBody>
                <a:bodyPr wrap="square" lIns="36000" tIns="54000" rIns="36000" bIns="54000" numCol="1" spcCol="72000" rtlCol="0" anchor="ctr">
                  <a:noAutofit/>
                </a:bodyPr>
                <a:lstStyle/>
                <a:p>
                  <a:pPr algn="l">
                    <a:lnSpc>
                      <a:spcPct val="110000"/>
                    </a:lnSpc>
                    <a:spcBef>
                      <a:spcPct val="0"/>
                    </a:spcBef>
                  </a:pPr>
                  <a:endParaRPr lang="de-CH" sz="1200">
                    <a:solidFill>
                      <a:schemeClr val="bg1"/>
                    </a:solidFill>
                  </a:endParaRPr>
                </a:p>
              </p:txBody>
            </p:sp>
          </p:grpSp>
          <p:sp>
            <p:nvSpPr>
              <p:cNvPr id="101" name="Rechteck 100">
                <a:extLst>
                  <a:ext uri="{FF2B5EF4-FFF2-40B4-BE49-F238E27FC236}">
                    <a16:creationId xmlns:a16="http://schemas.microsoft.com/office/drawing/2014/main" id="{A44A5F2E-2A6C-45B7-B6AC-FE00DB169404}"/>
                  </a:ext>
                </a:extLst>
              </p:cNvPr>
              <p:cNvSpPr/>
              <p:nvPr/>
            </p:nvSpPr>
            <p:spPr bwMode="auto">
              <a:xfrm>
                <a:off x="3899816" y="4236773"/>
                <a:ext cx="1009581" cy="784154"/>
              </a:xfrm>
              <a:prstGeom prst="rect">
                <a:avLst/>
              </a:prstGeom>
              <a:noFill/>
              <a:ln>
                <a:solidFill>
                  <a:schemeClr val="tx1"/>
                </a:solidFill>
              </a:ln>
              <a:effectLst/>
            </p:spPr>
            <p:txBody>
              <a:bodyPr wrap="square" lIns="108000" tIns="54000" rIns="36000" bIns="54000" numCol="1" spcCol="72000" rtlCol="0" anchor="ctr">
                <a:noAutofit/>
              </a:bodyPr>
              <a:lstStyle/>
              <a:p>
                <a:pPr algn="l">
                  <a:lnSpc>
                    <a:spcPct val="110000"/>
                  </a:lnSpc>
                  <a:spcBef>
                    <a:spcPct val="0"/>
                  </a:spcBef>
                </a:pPr>
                <a:endParaRPr lang="de-CH">
                  <a:solidFill>
                    <a:schemeClr val="bg1"/>
                  </a:solidFill>
                </a:endParaRPr>
              </a:p>
            </p:txBody>
          </p:sp>
        </p:grpSp>
        <p:sp>
          <p:nvSpPr>
            <p:cNvPr id="138" name="Pfeil: nach rechts 137">
              <a:extLst>
                <a:ext uri="{FF2B5EF4-FFF2-40B4-BE49-F238E27FC236}">
                  <a16:creationId xmlns:a16="http://schemas.microsoft.com/office/drawing/2014/main" id="{CF8CBC1B-5C18-4AFA-B196-5DC5595C9996}"/>
                </a:ext>
              </a:extLst>
            </p:cNvPr>
            <p:cNvSpPr/>
            <p:nvPr/>
          </p:nvSpPr>
          <p:spPr bwMode="auto">
            <a:xfrm>
              <a:off x="4152578" y="3458792"/>
              <a:ext cx="2268000" cy="534930"/>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r>
                <a:rPr lang="en-US" sz="1200" dirty="0">
                  <a:solidFill>
                    <a:schemeClr val="bg1"/>
                  </a:solidFill>
                </a:rPr>
                <a:t>Reliability</a:t>
              </a:r>
            </a:p>
          </p:txBody>
        </p:sp>
        <p:sp>
          <p:nvSpPr>
            <p:cNvPr id="139" name="Pfeil: nach rechts 138">
              <a:extLst>
                <a:ext uri="{FF2B5EF4-FFF2-40B4-BE49-F238E27FC236}">
                  <a16:creationId xmlns:a16="http://schemas.microsoft.com/office/drawing/2014/main" id="{13E7632B-54FD-459B-B4E1-DDAF52520781}"/>
                </a:ext>
              </a:extLst>
            </p:cNvPr>
            <p:cNvSpPr/>
            <p:nvPr/>
          </p:nvSpPr>
          <p:spPr bwMode="auto">
            <a:xfrm>
              <a:off x="4152578" y="2892780"/>
              <a:ext cx="2268000" cy="534930"/>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r>
                <a:rPr lang="en-US" sz="1200" dirty="0">
                  <a:solidFill>
                    <a:schemeClr val="bg1"/>
                  </a:solidFill>
                </a:rPr>
                <a:t>Present Value out of range</a:t>
              </a:r>
            </a:p>
          </p:txBody>
        </p:sp>
        <p:sp>
          <p:nvSpPr>
            <p:cNvPr id="140" name="Rechteck 139">
              <a:extLst>
                <a:ext uri="{FF2B5EF4-FFF2-40B4-BE49-F238E27FC236}">
                  <a16:creationId xmlns:a16="http://schemas.microsoft.com/office/drawing/2014/main" id="{78E52AF4-1540-43EE-B63A-49A99A335B15}"/>
                </a:ext>
              </a:extLst>
            </p:cNvPr>
            <p:cNvSpPr/>
            <p:nvPr/>
          </p:nvSpPr>
          <p:spPr bwMode="auto">
            <a:xfrm>
              <a:off x="6428075" y="2901952"/>
              <a:ext cx="1310143" cy="454894"/>
            </a:xfrm>
            <a:prstGeom prst="rect">
              <a:avLst/>
            </a:prstGeom>
            <a:solidFill>
              <a:schemeClr val="accent6"/>
            </a:solidFill>
            <a:ln>
              <a:noFill/>
            </a:ln>
            <a:effectLst/>
          </p:spPr>
          <p:txBody>
            <a:bodyPr wrap="square" lIns="108000" tIns="54000" rIns="36000" bIns="54000" numCol="1" spcCol="72000" rtlCol="0" anchor="ctr">
              <a:noAutofit/>
            </a:bodyPr>
            <a:lstStyle/>
            <a:p>
              <a:pPr algn="l">
                <a:lnSpc>
                  <a:spcPct val="110000"/>
                </a:lnSpc>
                <a:spcBef>
                  <a:spcPct val="0"/>
                </a:spcBef>
              </a:pPr>
              <a:r>
                <a:rPr lang="en-US" dirty="0" err="1">
                  <a:solidFill>
                    <a:schemeClr val="bg1"/>
                  </a:solidFill>
                </a:rPr>
                <a:t>OffNormal</a:t>
              </a:r>
              <a:endParaRPr lang="en-US" dirty="0">
                <a:solidFill>
                  <a:schemeClr val="bg1"/>
                </a:solidFill>
              </a:endParaRPr>
            </a:p>
          </p:txBody>
        </p:sp>
        <p:sp>
          <p:nvSpPr>
            <p:cNvPr id="141" name="Rechteck 140">
              <a:extLst>
                <a:ext uri="{FF2B5EF4-FFF2-40B4-BE49-F238E27FC236}">
                  <a16:creationId xmlns:a16="http://schemas.microsoft.com/office/drawing/2014/main" id="{A75FFB50-6C74-4A5C-BEA3-EC1A87DAF69E}"/>
                </a:ext>
              </a:extLst>
            </p:cNvPr>
            <p:cNvSpPr/>
            <p:nvPr/>
          </p:nvSpPr>
          <p:spPr bwMode="auto">
            <a:xfrm>
              <a:off x="6422862" y="3458792"/>
              <a:ext cx="1310143" cy="501276"/>
            </a:xfrm>
            <a:prstGeom prst="rect">
              <a:avLst/>
            </a:prstGeom>
            <a:solidFill>
              <a:schemeClr val="accent6">
                <a:lumMod val="75000"/>
              </a:schemeClr>
            </a:solidFill>
            <a:ln>
              <a:noFill/>
            </a:ln>
            <a:effectLst/>
          </p:spPr>
          <p:txBody>
            <a:bodyPr wrap="square" lIns="108000" tIns="54000" rIns="36000" bIns="54000" numCol="1" spcCol="72000" rtlCol="0" anchor="ctr">
              <a:noAutofit/>
            </a:bodyPr>
            <a:lstStyle/>
            <a:p>
              <a:pPr algn="l">
                <a:lnSpc>
                  <a:spcPct val="110000"/>
                </a:lnSpc>
                <a:spcBef>
                  <a:spcPct val="0"/>
                </a:spcBef>
              </a:pPr>
              <a:r>
                <a:rPr lang="en-US" dirty="0">
                  <a:solidFill>
                    <a:schemeClr val="bg1"/>
                  </a:solidFill>
                </a:rPr>
                <a:t>Fault</a:t>
              </a:r>
            </a:p>
          </p:txBody>
        </p:sp>
        <p:sp>
          <p:nvSpPr>
            <p:cNvPr id="142" name="Rechteck 141">
              <a:extLst>
                <a:ext uri="{FF2B5EF4-FFF2-40B4-BE49-F238E27FC236}">
                  <a16:creationId xmlns:a16="http://schemas.microsoft.com/office/drawing/2014/main" id="{62DBEE4B-1DA5-41C8-9222-4F8C7E03AEE3}"/>
                </a:ext>
              </a:extLst>
            </p:cNvPr>
            <p:cNvSpPr/>
            <p:nvPr/>
          </p:nvSpPr>
          <p:spPr bwMode="auto">
            <a:xfrm>
              <a:off x="8558005" y="2921257"/>
              <a:ext cx="785167" cy="948179"/>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nSpc>
                  <a:spcPct val="110000"/>
                </a:lnSpc>
                <a:spcBef>
                  <a:spcPct val="0"/>
                </a:spcBef>
              </a:pPr>
              <a:r>
                <a:rPr lang="en-US" dirty="0">
                  <a:solidFill>
                    <a:schemeClr val="bg1"/>
                  </a:solidFill>
                </a:rPr>
                <a:t>OR</a:t>
              </a:r>
            </a:p>
          </p:txBody>
        </p:sp>
        <p:sp>
          <p:nvSpPr>
            <p:cNvPr id="143" name="Rechteck 142">
              <a:extLst>
                <a:ext uri="{FF2B5EF4-FFF2-40B4-BE49-F238E27FC236}">
                  <a16:creationId xmlns:a16="http://schemas.microsoft.com/office/drawing/2014/main" id="{A6E38FC3-D61C-42D9-B9A6-CACE03CEB330}"/>
                </a:ext>
              </a:extLst>
            </p:cNvPr>
            <p:cNvSpPr/>
            <p:nvPr/>
          </p:nvSpPr>
          <p:spPr bwMode="auto">
            <a:xfrm>
              <a:off x="10170456" y="3164682"/>
              <a:ext cx="1310143" cy="501276"/>
            </a:xfrm>
            <a:prstGeom prst="rect">
              <a:avLst/>
            </a:prstGeom>
            <a:solidFill>
              <a:srgbClr val="C00000"/>
            </a:solidFill>
            <a:ln>
              <a:noFill/>
            </a:ln>
            <a:effectLst/>
          </p:spPr>
          <p:txBody>
            <a:bodyPr wrap="square" lIns="108000" tIns="54000" rIns="36000" bIns="54000" numCol="1" spcCol="72000" rtlCol="0" anchor="ctr">
              <a:noAutofit/>
            </a:bodyPr>
            <a:lstStyle/>
            <a:p>
              <a:pPr algn="l">
                <a:lnSpc>
                  <a:spcPct val="110000"/>
                </a:lnSpc>
                <a:spcBef>
                  <a:spcPct val="0"/>
                </a:spcBef>
              </a:pPr>
              <a:r>
                <a:rPr lang="en-US" dirty="0">
                  <a:solidFill>
                    <a:schemeClr val="bg1"/>
                  </a:solidFill>
                </a:rPr>
                <a:t>In Alarm</a:t>
              </a:r>
            </a:p>
          </p:txBody>
        </p:sp>
        <p:sp>
          <p:nvSpPr>
            <p:cNvPr id="144" name="Pfeil: nach rechts 143">
              <a:extLst>
                <a:ext uri="{FF2B5EF4-FFF2-40B4-BE49-F238E27FC236}">
                  <a16:creationId xmlns:a16="http://schemas.microsoft.com/office/drawing/2014/main" id="{B771A7E8-CF67-41AE-B718-C962BE1163D1}"/>
                </a:ext>
              </a:extLst>
            </p:cNvPr>
            <p:cNvSpPr/>
            <p:nvPr/>
          </p:nvSpPr>
          <p:spPr bwMode="auto">
            <a:xfrm>
              <a:off x="7751319" y="3519752"/>
              <a:ext cx="806686" cy="349684"/>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sz="1200" dirty="0">
                <a:solidFill>
                  <a:schemeClr val="bg1"/>
                </a:solidFill>
              </a:endParaRPr>
            </a:p>
          </p:txBody>
        </p:sp>
        <p:sp>
          <p:nvSpPr>
            <p:cNvPr id="145" name="Pfeil: nach rechts 144">
              <a:extLst>
                <a:ext uri="{FF2B5EF4-FFF2-40B4-BE49-F238E27FC236}">
                  <a16:creationId xmlns:a16="http://schemas.microsoft.com/office/drawing/2014/main" id="{198D09CB-6589-4211-8628-CF3A0189AB0C}"/>
                </a:ext>
              </a:extLst>
            </p:cNvPr>
            <p:cNvSpPr/>
            <p:nvPr/>
          </p:nvSpPr>
          <p:spPr bwMode="auto">
            <a:xfrm>
              <a:off x="7751319" y="2953740"/>
              <a:ext cx="806686" cy="349684"/>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sz="1200" dirty="0">
                <a:solidFill>
                  <a:schemeClr val="bg1"/>
                </a:solidFill>
              </a:endParaRPr>
            </a:p>
          </p:txBody>
        </p:sp>
        <p:sp>
          <p:nvSpPr>
            <p:cNvPr id="146" name="Pfeil: nach rechts 145">
              <a:extLst>
                <a:ext uri="{FF2B5EF4-FFF2-40B4-BE49-F238E27FC236}">
                  <a16:creationId xmlns:a16="http://schemas.microsoft.com/office/drawing/2014/main" id="{718C582C-1666-4A50-9F15-52CB8A32616E}"/>
                </a:ext>
              </a:extLst>
            </p:cNvPr>
            <p:cNvSpPr/>
            <p:nvPr/>
          </p:nvSpPr>
          <p:spPr bwMode="auto">
            <a:xfrm>
              <a:off x="9356273" y="3240478"/>
              <a:ext cx="806686" cy="349684"/>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sz="1200" dirty="0">
                <a:solidFill>
                  <a:schemeClr val="bg1"/>
                </a:solidFill>
              </a:endParaRPr>
            </a:p>
          </p:txBody>
        </p:sp>
      </p:grpSp>
      <p:grpSp>
        <p:nvGrpSpPr>
          <p:cNvPr id="75" name="Gruppieren 74">
            <a:extLst>
              <a:ext uri="{FF2B5EF4-FFF2-40B4-BE49-F238E27FC236}">
                <a16:creationId xmlns:a16="http://schemas.microsoft.com/office/drawing/2014/main" id="{FEF9269C-612B-41CD-8465-7211B745FF7B}"/>
              </a:ext>
            </a:extLst>
          </p:cNvPr>
          <p:cNvGrpSpPr/>
          <p:nvPr/>
        </p:nvGrpSpPr>
        <p:grpSpPr>
          <a:xfrm>
            <a:off x="2669617" y="1175401"/>
            <a:ext cx="1453281" cy="1215802"/>
            <a:chOff x="3899816" y="4236773"/>
            <a:chExt cx="1009581" cy="797776"/>
          </a:xfrm>
        </p:grpSpPr>
        <p:grpSp>
          <p:nvGrpSpPr>
            <p:cNvPr id="76" name="Gruppieren 75">
              <a:extLst>
                <a:ext uri="{FF2B5EF4-FFF2-40B4-BE49-F238E27FC236}">
                  <a16:creationId xmlns:a16="http://schemas.microsoft.com/office/drawing/2014/main" id="{F5EB6591-F74A-4A08-9EE7-15F73309FDA2}"/>
                </a:ext>
              </a:extLst>
            </p:cNvPr>
            <p:cNvGrpSpPr/>
            <p:nvPr/>
          </p:nvGrpSpPr>
          <p:grpSpPr>
            <a:xfrm>
              <a:off x="3901743" y="4236773"/>
              <a:ext cx="1007654" cy="797776"/>
              <a:chOff x="4028540" y="4765316"/>
              <a:chExt cx="1007654" cy="797776"/>
            </a:xfrm>
          </p:grpSpPr>
          <p:sp>
            <p:nvSpPr>
              <p:cNvPr id="78" name="Rechteck 77">
                <a:extLst>
                  <a:ext uri="{FF2B5EF4-FFF2-40B4-BE49-F238E27FC236}">
                    <a16:creationId xmlns:a16="http://schemas.microsoft.com/office/drawing/2014/main" id="{CF4A5DC9-F2E5-43C3-AD28-142F721F008E}"/>
                  </a:ext>
                </a:extLst>
              </p:cNvPr>
              <p:cNvSpPr/>
              <p:nvPr/>
            </p:nvSpPr>
            <p:spPr bwMode="auto">
              <a:xfrm>
                <a:off x="4028540" y="4765316"/>
                <a:ext cx="1007654" cy="178578"/>
              </a:xfrm>
              <a:prstGeom prst="rect">
                <a:avLst/>
              </a:prstGeom>
              <a:solidFill>
                <a:srgbClr val="FF8040"/>
              </a:solidFill>
              <a:ln>
                <a:noFill/>
              </a:ln>
              <a:effectLst/>
            </p:spPr>
            <p:txBody>
              <a:bodyPr wrap="square" lIns="36000" tIns="54000" rIns="36000" bIns="54000" numCol="1" spcCol="72000" rtlCol="0" anchor="ctr">
                <a:noAutofit/>
              </a:bodyPr>
              <a:lstStyle/>
              <a:p>
                <a:pPr algn="l">
                  <a:lnSpc>
                    <a:spcPct val="110000"/>
                  </a:lnSpc>
                  <a:spcBef>
                    <a:spcPct val="0"/>
                  </a:spcBef>
                </a:pPr>
                <a:r>
                  <a:rPr lang="de-CH" sz="1200" dirty="0">
                    <a:solidFill>
                      <a:schemeClr val="tx1"/>
                    </a:solidFill>
                  </a:rPr>
                  <a:t>Binary Output    DB</a:t>
                </a:r>
              </a:p>
            </p:txBody>
          </p:sp>
          <p:sp>
            <p:nvSpPr>
              <p:cNvPr id="79" name="Rechteck 78">
                <a:extLst>
                  <a:ext uri="{FF2B5EF4-FFF2-40B4-BE49-F238E27FC236}">
                    <a16:creationId xmlns:a16="http://schemas.microsoft.com/office/drawing/2014/main" id="{B0A01754-FE04-4017-80AA-4E02C5B6E104}"/>
                  </a:ext>
                </a:extLst>
              </p:cNvPr>
              <p:cNvSpPr/>
              <p:nvPr/>
            </p:nvSpPr>
            <p:spPr bwMode="auto">
              <a:xfrm>
                <a:off x="4028540" y="4946778"/>
                <a:ext cx="1007654" cy="178578"/>
              </a:xfrm>
              <a:prstGeom prst="rect">
                <a:avLst/>
              </a:prstGeom>
              <a:solidFill>
                <a:schemeClr val="bg1"/>
              </a:solidFill>
              <a:ln>
                <a:noFill/>
              </a:ln>
              <a:effectLst/>
            </p:spPr>
            <p:txBody>
              <a:bodyPr wrap="square" lIns="36000" tIns="54000" rIns="36000" bIns="54000" numCol="1" spcCol="72000" rtlCol="0" anchor="ctr">
                <a:noAutofit/>
              </a:bodyPr>
              <a:lstStyle/>
              <a:p>
                <a:pPr algn="l">
                  <a:lnSpc>
                    <a:spcPct val="110000"/>
                  </a:lnSpc>
                  <a:spcBef>
                    <a:spcPct val="0"/>
                  </a:spcBef>
                </a:pPr>
                <a:r>
                  <a:rPr lang="de-CH" sz="1200" dirty="0">
                    <a:solidFill>
                      <a:schemeClr val="tx1"/>
                    </a:solidFill>
                  </a:rPr>
                  <a:t>Binary Output</a:t>
                </a:r>
              </a:p>
            </p:txBody>
          </p:sp>
          <p:sp>
            <p:nvSpPr>
              <p:cNvPr id="80" name="Rechteck 79">
                <a:extLst>
                  <a:ext uri="{FF2B5EF4-FFF2-40B4-BE49-F238E27FC236}">
                    <a16:creationId xmlns:a16="http://schemas.microsoft.com/office/drawing/2014/main" id="{9FBD1F74-F062-4D67-AB82-EF27BFA29BD1}"/>
                  </a:ext>
                </a:extLst>
              </p:cNvPr>
              <p:cNvSpPr/>
              <p:nvPr/>
            </p:nvSpPr>
            <p:spPr bwMode="auto">
              <a:xfrm>
                <a:off x="4028540" y="5125357"/>
                <a:ext cx="1007654" cy="437735"/>
              </a:xfrm>
              <a:prstGeom prst="rect">
                <a:avLst/>
              </a:prstGeom>
              <a:solidFill>
                <a:srgbClr val="00FFFF"/>
              </a:solidFill>
              <a:ln>
                <a:noFill/>
              </a:ln>
              <a:effectLst/>
            </p:spPr>
            <p:txBody>
              <a:bodyPr wrap="square" lIns="36000" tIns="54000" rIns="36000" bIns="54000" numCol="1" spcCol="72000" rtlCol="0" anchor="ctr">
                <a:noAutofit/>
              </a:bodyPr>
              <a:lstStyle/>
              <a:p>
                <a:pPr algn="l">
                  <a:lnSpc>
                    <a:spcPct val="110000"/>
                  </a:lnSpc>
                  <a:spcBef>
                    <a:spcPct val="0"/>
                  </a:spcBef>
                </a:pPr>
                <a:endParaRPr lang="de-CH" sz="1200">
                  <a:solidFill>
                    <a:schemeClr val="bg1"/>
                  </a:solidFill>
                </a:endParaRPr>
              </a:p>
            </p:txBody>
          </p:sp>
        </p:grpSp>
        <p:sp>
          <p:nvSpPr>
            <p:cNvPr id="77" name="Rechteck 76">
              <a:extLst>
                <a:ext uri="{FF2B5EF4-FFF2-40B4-BE49-F238E27FC236}">
                  <a16:creationId xmlns:a16="http://schemas.microsoft.com/office/drawing/2014/main" id="{E6434EF4-6DA5-4EA4-8D37-30EBAA863DD1}"/>
                </a:ext>
              </a:extLst>
            </p:cNvPr>
            <p:cNvSpPr/>
            <p:nvPr/>
          </p:nvSpPr>
          <p:spPr bwMode="auto">
            <a:xfrm>
              <a:off x="3899816" y="4236773"/>
              <a:ext cx="1009581" cy="797776"/>
            </a:xfrm>
            <a:prstGeom prst="rect">
              <a:avLst/>
            </a:prstGeom>
            <a:noFill/>
            <a:ln>
              <a:solidFill>
                <a:schemeClr val="tx1"/>
              </a:solidFill>
            </a:ln>
            <a:effectLst/>
          </p:spPr>
          <p:txBody>
            <a:bodyPr wrap="square" lIns="108000" tIns="54000" rIns="36000" bIns="54000" numCol="1" spcCol="72000" rtlCol="0" anchor="ctr">
              <a:noAutofit/>
            </a:bodyPr>
            <a:lstStyle/>
            <a:p>
              <a:pPr algn="l">
                <a:lnSpc>
                  <a:spcPct val="110000"/>
                </a:lnSpc>
                <a:spcBef>
                  <a:spcPct val="0"/>
                </a:spcBef>
              </a:pPr>
              <a:endParaRPr lang="de-CH">
                <a:solidFill>
                  <a:schemeClr val="bg1"/>
                </a:solidFill>
              </a:endParaRPr>
            </a:p>
          </p:txBody>
        </p:sp>
      </p:grpSp>
      <p:sp>
        <p:nvSpPr>
          <p:cNvPr id="120" name="Pfeil: nach rechts 119">
            <a:extLst>
              <a:ext uri="{FF2B5EF4-FFF2-40B4-BE49-F238E27FC236}">
                <a16:creationId xmlns:a16="http://schemas.microsoft.com/office/drawing/2014/main" id="{8CCF2222-D180-4260-9181-03E7188021E1}"/>
              </a:ext>
            </a:extLst>
          </p:cNvPr>
          <p:cNvSpPr/>
          <p:nvPr/>
        </p:nvSpPr>
        <p:spPr bwMode="auto">
          <a:xfrm>
            <a:off x="4140838" y="1926269"/>
            <a:ext cx="2268000" cy="534930"/>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r>
              <a:rPr lang="en-US" sz="1200" dirty="0">
                <a:solidFill>
                  <a:schemeClr val="bg1"/>
                </a:solidFill>
              </a:rPr>
              <a:t>Reliability</a:t>
            </a:r>
          </a:p>
        </p:txBody>
      </p:sp>
      <p:sp>
        <p:nvSpPr>
          <p:cNvPr id="124" name="Rechteck 123">
            <a:extLst>
              <a:ext uri="{FF2B5EF4-FFF2-40B4-BE49-F238E27FC236}">
                <a16:creationId xmlns:a16="http://schemas.microsoft.com/office/drawing/2014/main" id="{6293B3A8-76E0-42BD-B399-36CD3748991B}"/>
              </a:ext>
            </a:extLst>
          </p:cNvPr>
          <p:cNvSpPr/>
          <p:nvPr/>
        </p:nvSpPr>
        <p:spPr bwMode="auto">
          <a:xfrm>
            <a:off x="6411122" y="1926092"/>
            <a:ext cx="1310143" cy="501276"/>
          </a:xfrm>
          <a:prstGeom prst="rect">
            <a:avLst/>
          </a:prstGeom>
          <a:solidFill>
            <a:schemeClr val="accent6">
              <a:lumMod val="75000"/>
            </a:schemeClr>
          </a:solidFill>
          <a:ln>
            <a:noFill/>
          </a:ln>
          <a:effectLst/>
        </p:spPr>
        <p:txBody>
          <a:bodyPr wrap="square" lIns="108000" tIns="54000" rIns="36000" bIns="54000" numCol="1" spcCol="72000" rtlCol="0" anchor="ctr">
            <a:noAutofit/>
          </a:bodyPr>
          <a:lstStyle/>
          <a:p>
            <a:pPr algn="l">
              <a:lnSpc>
                <a:spcPct val="110000"/>
              </a:lnSpc>
              <a:spcBef>
                <a:spcPct val="0"/>
              </a:spcBef>
            </a:pPr>
            <a:r>
              <a:rPr lang="en-US" dirty="0">
                <a:solidFill>
                  <a:schemeClr val="bg1"/>
                </a:solidFill>
              </a:rPr>
              <a:t>Fault</a:t>
            </a:r>
          </a:p>
        </p:txBody>
      </p:sp>
      <p:sp>
        <p:nvSpPr>
          <p:cNvPr id="125" name="Rechteck 124">
            <a:extLst>
              <a:ext uri="{FF2B5EF4-FFF2-40B4-BE49-F238E27FC236}">
                <a16:creationId xmlns:a16="http://schemas.microsoft.com/office/drawing/2014/main" id="{89055CDE-A99D-479F-80DF-A48F2FDCAB03}"/>
              </a:ext>
            </a:extLst>
          </p:cNvPr>
          <p:cNvSpPr/>
          <p:nvPr/>
        </p:nvSpPr>
        <p:spPr bwMode="auto">
          <a:xfrm>
            <a:off x="8546265" y="1361512"/>
            <a:ext cx="785167" cy="1138144"/>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nSpc>
                <a:spcPct val="110000"/>
              </a:lnSpc>
              <a:spcBef>
                <a:spcPct val="0"/>
              </a:spcBef>
            </a:pPr>
            <a:r>
              <a:rPr lang="en-US" dirty="0">
                <a:solidFill>
                  <a:schemeClr val="bg1"/>
                </a:solidFill>
              </a:rPr>
              <a:t>OR</a:t>
            </a:r>
          </a:p>
        </p:txBody>
      </p:sp>
      <p:sp>
        <p:nvSpPr>
          <p:cNvPr id="126" name="Rechteck 125">
            <a:extLst>
              <a:ext uri="{FF2B5EF4-FFF2-40B4-BE49-F238E27FC236}">
                <a16:creationId xmlns:a16="http://schemas.microsoft.com/office/drawing/2014/main" id="{6703DDD1-827B-4917-905F-9414DF9F48A3}"/>
              </a:ext>
            </a:extLst>
          </p:cNvPr>
          <p:cNvSpPr/>
          <p:nvPr/>
        </p:nvSpPr>
        <p:spPr bwMode="auto">
          <a:xfrm>
            <a:off x="10158716" y="1712269"/>
            <a:ext cx="1310143" cy="501276"/>
          </a:xfrm>
          <a:prstGeom prst="rect">
            <a:avLst/>
          </a:prstGeom>
          <a:solidFill>
            <a:srgbClr val="C00000"/>
          </a:solidFill>
          <a:ln>
            <a:noFill/>
          </a:ln>
          <a:effectLst/>
        </p:spPr>
        <p:txBody>
          <a:bodyPr wrap="square" lIns="108000" tIns="54000" rIns="36000" bIns="54000" numCol="1" spcCol="72000" rtlCol="0" anchor="ctr">
            <a:noAutofit/>
          </a:bodyPr>
          <a:lstStyle/>
          <a:p>
            <a:pPr algn="l">
              <a:lnSpc>
                <a:spcPct val="110000"/>
              </a:lnSpc>
              <a:spcBef>
                <a:spcPct val="0"/>
              </a:spcBef>
            </a:pPr>
            <a:r>
              <a:rPr lang="en-US" dirty="0">
                <a:solidFill>
                  <a:schemeClr val="bg1"/>
                </a:solidFill>
              </a:rPr>
              <a:t>In Alarm</a:t>
            </a:r>
          </a:p>
        </p:txBody>
      </p:sp>
      <p:sp>
        <p:nvSpPr>
          <p:cNvPr id="127" name="Pfeil: nach rechts 126">
            <a:extLst>
              <a:ext uri="{FF2B5EF4-FFF2-40B4-BE49-F238E27FC236}">
                <a16:creationId xmlns:a16="http://schemas.microsoft.com/office/drawing/2014/main" id="{73BABF2C-0BA2-4D39-A7B2-866A5DE3E3EF}"/>
              </a:ext>
            </a:extLst>
          </p:cNvPr>
          <p:cNvSpPr/>
          <p:nvPr/>
        </p:nvSpPr>
        <p:spPr bwMode="auto">
          <a:xfrm>
            <a:off x="7739579" y="1987052"/>
            <a:ext cx="806686" cy="349684"/>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sz="1200" dirty="0">
              <a:solidFill>
                <a:schemeClr val="bg1"/>
              </a:solidFill>
            </a:endParaRPr>
          </a:p>
        </p:txBody>
      </p:sp>
      <p:sp>
        <p:nvSpPr>
          <p:cNvPr id="130" name="Pfeil: nach rechts 129">
            <a:extLst>
              <a:ext uri="{FF2B5EF4-FFF2-40B4-BE49-F238E27FC236}">
                <a16:creationId xmlns:a16="http://schemas.microsoft.com/office/drawing/2014/main" id="{71F6535D-3EDD-43A3-803E-19ABADD45192}"/>
              </a:ext>
            </a:extLst>
          </p:cNvPr>
          <p:cNvSpPr/>
          <p:nvPr/>
        </p:nvSpPr>
        <p:spPr bwMode="auto">
          <a:xfrm>
            <a:off x="9344533" y="1747477"/>
            <a:ext cx="806686" cy="349684"/>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sz="1200" dirty="0">
              <a:solidFill>
                <a:schemeClr val="bg1"/>
              </a:solidFill>
            </a:endParaRPr>
          </a:p>
        </p:txBody>
      </p:sp>
      <p:sp>
        <p:nvSpPr>
          <p:cNvPr id="112" name="Pfeil: nach rechts 111">
            <a:extLst>
              <a:ext uri="{FF2B5EF4-FFF2-40B4-BE49-F238E27FC236}">
                <a16:creationId xmlns:a16="http://schemas.microsoft.com/office/drawing/2014/main" id="{B76DFB8B-7867-44C1-AB13-BAE5F2F220D0}"/>
              </a:ext>
            </a:extLst>
          </p:cNvPr>
          <p:cNvSpPr/>
          <p:nvPr/>
        </p:nvSpPr>
        <p:spPr bwMode="auto">
          <a:xfrm>
            <a:off x="4152578" y="1329796"/>
            <a:ext cx="2268000" cy="534930"/>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r>
              <a:rPr lang="en-US" sz="1200" dirty="0" err="1">
                <a:solidFill>
                  <a:schemeClr val="bg1"/>
                </a:solidFill>
              </a:rPr>
              <a:t>PresentValue</a:t>
            </a:r>
            <a:r>
              <a:rPr lang="en-US" sz="1200" dirty="0">
                <a:solidFill>
                  <a:schemeClr val="bg1"/>
                </a:solidFill>
              </a:rPr>
              <a:t> &lt; &gt; Feedback</a:t>
            </a:r>
          </a:p>
        </p:txBody>
      </p:sp>
      <p:sp>
        <p:nvSpPr>
          <p:cNvPr id="117" name="Rechteck 116">
            <a:extLst>
              <a:ext uri="{FF2B5EF4-FFF2-40B4-BE49-F238E27FC236}">
                <a16:creationId xmlns:a16="http://schemas.microsoft.com/office/drawing/2014/main" id="{4A6F9BA5-89FA-401E-98DD-165CC9AF1484}"/>
              </a:ext>
            </a:extLst>
          </p:cNvPr>
          <p:cNvSpPr/>
          <p:nvPr/>
        </p:nvSpPr>
        <p:spPr bwMode="auto">
          <a:xfrm>
            <a:off x="6428075" y="1370053"/>
            <a:ext cx="1310143" cy="454894"/>
          </a:xfrm>
          <a:prstGeom prst="rect">
            <a:avLst/>
          </a:prstGeom>
          <a:solidFill>
            <a:schemeClr val="accent6"/>
          </a:solidFill>
          <a:ln>
            <a:noFill/>
          </a:ln>
          <a:effectLst/>
        </p:spPr>
        <p:txBody>
          <a:bodyPr wrap="square" lIns="108000" tIns="54000" rIns="36000" bIns="54000" numCol="1" spcCol="72000" rtlCol="0" anchor="ctr">
            <a:noAutofit/>
          </a:bodyPr>
          <a:lstStyle/>
          <a:p>
            <a:pPr algn="l">
              <a:lnSpc>
                <a:spcPct val="110000"/>
              </a:lnSpc>
              <a:spcBef>
                <a:spcPct val="0"/>
              </a:spcBef>
            </a:pPr>
            <a:r>
              <a:rPr lang="en-US" dirty="0" err="1">
                <a:solidFill>
                  <a:schemeClr val="bg1"/>
                </a:solidFill>
              </a:rPr>
              <a:t>OffNormal</a:t>
            </a:r>
            <a:endParaRPr lang="en-US" dirty="0">
              <a:solidFill>
                <a:schemeClr val="bg1"/>
              </a:solidFill>
            </a:endParaRPr>
          </a:p>
        </p:txBody>
      </p:sp>
      <p:sp>
        <p:nvSpPr>
          <p:cNvPr id="121" name="Pfeil: nach rechts 120">
            <a:extLst>
              <a:ext uri="{FF2B5EF4-FFF2-40B4-BE49-F238E27FC236}">
                <a16:creationId xmlns:a16="http://schemas.microsoft.com/office/drawing/2014/main" id="{17B4A4B1-FBE0-4237-ACB5-868CD3576939}"/>
              </a:ext>
            </a:extLst>
          </p:cNvPr>
          <p:cNvSpPr/>
          <p:nvPr/>
        </p:nvSpPr>
        <p:spPr bwMode="auto">
          <a:xfrm>
            <a:off x="7739579" y="1470967"/>
            <a:ext cx="806686" cy="349684"/>
          </a:xfrm>
          <a:prstGeom prst="rightArrow">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sz="1200" dirty="0">
              <a:solidFill>
                <a:schemeClr val="bg1"/>
              </a:solidFill>
            </a:endParaRPr>
          </a:p>
        </p:txBody>
      </p:sp>
    </p:spTree>
    <p:extLst>
      <p:ext uri="{BB962C8B-B14F-4D97-AF65-F5344CB8AC3E}">
        <p14:creationId xmlns:p14="http://schemas.microsoft.com/office/powerpoint/2010/main" val="211720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fade">
                                      <p:cBhvr>
                                        <p:cTn id="7" dur="500"/>
                                        <p:tgtEl>
                                          <p:spTgt spid="1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7"/>
                                        </p:tgtEl>
                                        <p:attrNameLst>
                                          <p:attrName>style.visibility</p:attrName>
                                        </p:attrNameLst>
                                      </p:cBhvr>
                                      <p:to>
                                        <p:strVal val="visible"/>
                                      </p:to>
                                    </p:set>
                                    <p:animEffect transition="in" filter="fade">
                                      <p:cBhvr>
                                        <p:cTn id="15" dur="500"/>
                                        <p:tgtEl>
                                          <p:spTgt spid="1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5"/>
                                        </p:tgtEl>
                                        <p:attrNameLst>
                                          <p:attrName>style.visibility</p:attrName>
                                        </p:attrNameLst>
                                      </p:cBhvr>
                                      <p:to>
                                        <p:strVal val="visible"/>
                                      </p:to>
                                    </p:set>
                                    <p:animEffect transition="in" filter="fade">
                                      <p:cBhvr>
                                        <p:cTn id="18" dur="500"/>
                                        <p:tgtEl>
                                          <p:spTgt spid="1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1"/>
                                        </p:tgtEl>
                                        <p:attrNameLst>
                                          <p:attrName>style.visibility</p:attrName>
                                        </p:attrNameLst>
                                      </p:cBhvr>
                                      <p:to>
                                        <p:strVal val="visible"/>
                                      </p:to>
                                    </p:set>
                                    <p:animEffect transition="in" filter="fade">
                                      <p:cBhvr>
                                        <p:cTn id="21" dur="500"/>
                                        <p:tgtEl>
                                          <p:spTgt spid="12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0"/>
                                        </p:tgtEl>
                                        <p:attrNameLst>
                                          <p:attrName>style.visibility</p:attrName>
                                        </p:attrNameLst>
                                      </p:cBhvr>
                                      <p:to>
                                        <p:strVal val="visible"/>
                                      </p:to>
                                    </p:set>
                                    <p:animEffect transition="in" filter="fade">
                                      <p:cBhvr>
                                        <p:cTn id="26" dur="500"/>
                                        <p:tgtEl>
                                          <p:spTgt spid="13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26"/>
                                        </p:tgtEl>
                                        <p:attrNameLst>
                                          <p:attrName>style.visibility</p:attrName>
                                        </p:attrNameLst>
                                      </p:cBhvr>
                                      <p:to>
                                        <p:strVal val="visible"/>
                                      </p:to>
                                    </p:set>
                                    <p:animEffect transition="in" filter="fade">
                                      <p:cBhvr>
                                        <p:cTn id="29" dur="500"/>
                                        <p:tgtEl>
                                          <p:spTgt spid="12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childTnLst>
                          </p:cTn>
                        </p:par>
                        <p:par>
                          <p:cTn id="39" fill="hold">
                            <p:stCondLst>
                              <p:cond delay="1000"/>
                            </p:stCondLst>
                            <p:childTnLst>
                              <p:par>
                                <p:cTn id="40" presetID="10" presetClass="entr" presetSubtype="0" fill="hold" nodeType="after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P spid="124" grpId="0" animBg="1"/>
      <p:bldP spid="125" grpId="0" animBg="1"/>
      <p:bldP spid="126" grpId="0" animBg="1"/>
      <p:bldP spid="127" grpId="0" animBg="1"/>
      <p:bldP spid="130" grpId="0" animBg="1"/>
      <p:bldP spid="12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CDT_CUSTOMER" val="Siemens_I_2013"/>
  <p:tag name="CDT_CUSTOMER_NAME" val="Siemens AG, Industry Sector"/>
  <p:tag name="CDT_VERSION" val="4.1.2.0"/>
  <p:tag name="CDT_CREATORVERSION" val="4.1.2.0"/>
  <p:tag name="CDT_TEMPLATEVERSION" val="2.0.0"/>
  <p:tag name="CDT_LANGUAGE" val="1033"/>
  <p:tag name="CDT_FONTSET" val="Arial"/>
  <p:tag name="EE4P_STYLE" val="Siemens 4:3"/>
  <p:tag name="TAG_BACKING_FORM_KEY" val="202716-g:\19_e-learning_projects\40_cerberus_pro_ul\01_virtual_classroom\03_script&amp;design voice\15\15.15.pptx"/>
  <p:tag name="ARTICULATE_PRESENTER_VERSION" val="7"/>
  <p:tag name="ARTICULATE_USED_PAGE_ORIENTATION" val="1"/>
  <p:tag name="ARTICULATE_USED_PAGE_SIZE" val="7"/>
  <p:tag name="ARTICULATE_DESIGN_ID_BLANK" val="t1T2KWuF"/>
  <p:tag name="ARTICULATE_PROJECT_OPEN" val="0"/>
  <p:tag name="EE4P_STYLE_ID" val="040887b0-086c-4ff4-2016-b5b55c2754ed"/>
  <p:tag name="ARTICULATE_SLIDE_COUNT" val="186"/>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heme/theme1.xml><?xml version="1.0" encoding="utf-8"?>
<a:theme xmlns:a="http://schemas.openxmlformats.org/drawingml/2006/main" name="blank">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36000" bIns="54000" numCol="1" spcCol="72000" rtlCol="0" anchor="ctr">
        <a:noAutofit/>
      </a:bodyPr>
      <a:lstStyle>
        <a:defPPr algn="l">
          <a:lnSpc>
            <a:spcPct val="110000"/>
          </a:lnSpc>
          <a:spcBef>
            <a:spcPct val="0"/>
          </a:spcBef>
          <a:defRPr dirty="0">
            <a:solidFill>
              <a:schemeClr val="bg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smtClean="0">
            <a:solidFill>
              <a:schemeClr val="tx1"/>
            </a:solidFill>
          </a:defRPr>
        </a:defPPr>
      </a:lstStyle>
    </a:txDef>
  </a:objectDefaults>
  <a:extraClrScheme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itle (big bar down)</Name>
  <PpLayout>1</PpLayout>
  <Index>1</Index>
</p4ppTags>
</file>

<file path=customXml/item10.xml><?xml version="1.0" encoding="utf-8"?>
<VariableListDefinition name="AD_HOC" displayName="AD_HOC" id="db51dfa1-fe2d-4a5c-b3d5-900df0afe8ba" isdomainofvalue="False" dataSourceId="b0bac3c1-b699-4af3-8dc8-2ca3802a2340"/>
</file>

<file path=customXml/item2.xml><?xml version="1.0" encoding="utf-8"?>
<p4ppTags>
  <Name>1_Two rows</Name>
  <PpLayout>32</PpLayout>
  <Index>14</Index>
</p4ppTags>
</file>

<file path=customXml/item3.xml><?xml version="1.0" encoding="utf-8"?>
<VariableList UniqueId="0d34fe06-40f3-4e70-b928-f4fd32271296" Name="System" ContentType="XML" MajorVersion="0" MinorVersion="1" isLocalCopy="False" IsBaseObject="False" DataSourceId="1c807371-650e-4847-a528-48b8e4171f6c" DataSourceMajorVersion="0" DataSourceMinorVersion="1"/>
</file>

<file path=customXml/item4.xml><?xml version="1.0" encoding="utf-8"?>
<VariableListDefinition name="Computed" displayName="Computed" id="e0e75796-603f-4c30-ab87-4e252269ca15" isdomainofvalue="False" dataSourceId="7508c306-5007-408f-827e-fbd5c67c967b"/>
</file>

<file path=customXml/item5.xml><?xml version="1.0" encoding="utf-8"?>
<VariableList UniqueId="db51dfa1-fe2d-4a5c-b3d5-900df0afe8ba" Name="AD_HOC" ContentType="XML" MajorVersion="0" MinorVersion="1" isLocalCopy="False" IsBaseObject="False" DataSourceId="b0bac3c1-b699-4af3-8dc8-2ca3802a2340" DataSourceMajorVersion="0" DataSourceMinorVersion="1"/>
</file>

<file path=customXml/item6.xml><?xml version="1.0" encoding="utf-8"?>
<AllExternalAdhocVariableMappings/>
</file>

<file path=customXml/item7.xml><?xml version="1.0" encoding="utf-8"?>
<p4ppTags/>
</file>

<file path=customXml/item8.xml><?xml version="1.0" encoding="utf-8"?>
<VariableListDefinition name="System" displayName="System" id="0d34fe06-40f3-4e70-b928-f4fd32271296" isdomainofvalue="False" dataSourceId="1c807371-650e-4847-a528-48b8e4171f6c"/>
</file>

<file path=customXml/item9.xml><?xml version="1.0" encoding="utf-8"?>
<VariableList UniqueId="e0e75796-603f-4c30-ab87-4e252269ca15" Name="Computed" ContentType="XML" MajorVersion="0" MinorVersion="1" isLocalCopy="False" IsBaseObject="False" DataSourceId="7508c306-5007-408f-827e-fbd5c67c967b" DataSourceMajorVersion="0" DataSourceMinorVersion="1"/>
</file>

<file path=customXml/itemProps1.xml><?xml version="1.0" encoding="utf-8"?>
<ds:datastoreItem xmlns:ds="http://schemas.openxmlformats.org/officeDocument/2006/customXml" ds:itemID="{A5111100-98EE-4A20-AE7B-BF136EFD1435}">
  <ds:schemaRefs/>
</ds:datastoreItem>
</file>

<file path=customXml/itemProps10.xml><?xml version="1.0" encoding="utf-8"?>
<ds:datastoreItem xmlns:ds="http://schemas.openxmlformats.org/officeDocument/2006/customXml" ds:itemID="{D356FF11-3188-406A-81B3-72A203877DC1}">
  <ds:schemaRefs/>
</ds:datastoreItem>
</file>

<file path=customXml/itemProps2.xml><?xml version="1.0" encoding="utf-8"?>
<ds:datastoreItem xmlns:ds="http://schemas.openxmlformats.org/officeDocument/2006/customXml" ds:itemID="{9C85B323-8697-4319-B012-CB7EF0B99A9B}">
  <ds:schemaRefs/>
</ds:datastoreItem>
</file>

<file path=customXml/itemProps3.xml><?xml version="1.0" encoding="utf-8"?>
<ds:datastoreItem xmlns:ds="http://schemas.openxmlformats.org/officeDocument/2006/customXml" ds:itemID="{7D8A91CB-FF7E-44C5-8AE2-890CEA030576}">
  <ds:schemaRefs/>
</ds:datastoreItem>
</file>

<file path=customXml/itemProps4.xml><?xml version="1.0" encoding="utf-8"?>
<ds:datastoreItem xmlns:ds="http://schemas.openxmlformats.org/officeDocument/2006/customXml" ds:itemID="{B821C410-C7CC-46DC-A2E3-D504DF45562C}">
  <ds:schemaRefs/>
</ds:datastoreItem>
</file>

<file path=customXml/itemProps5.xml><?xml version="1.0" encoding="utf-8"?>
<ds:datastoreItem xmlns:ds="http://schemas.openxmlformats.org/officeDocument/2006/customXml" ds:itemID="{EF472768-5210-45E2-8FE7-37D6FF3B4384}">
  <ds:schemaRefs/>
</ds:datastoreItem>
</file>

<file path=customXml/itemProps6.xml><?xml version="1.0" encoding="utf-8"?>
<ds:datastoreItem xmlns:ds="http://schemas.openxmlformats.org/officeDocument/2006/customXml" ds:itemID="{36312D4C-FD76-4270-8B0A-6990CC573F9B}">
  <ds:schemaRefs/>
</ds:datastoreItem>
</file>

<file path=customXml/itemProps7.xml><?xml version="1.0" encoding="utf-8"?>
<ds:datastoreItem xmlns:ds="http://schemas.openxmlformats.org/officeDocument/2006/customXml" ds:itemID="{EB8A4E2E-2B8F-4B71-A368-F18362B0C85F}">
  <ds:schemaRefs/>
</ds:datastoreItem>
</file>

<file path=customXml/itemProps8.xml><?xml version="1.0" encoding="utf-8"?>
<ds:datastoreItem xmlns:ds="http://schemas.openxmlformats.org/officeDocument/2006/customXml" ds:itemID="{51C236A3-CAF0-454D-B407-BAA0CC85FAB2}">
  <ds:schemaRefs/>
</ds:datastoreItem>
</file>

<file path=customXml/itemProps9.xml><?xml version="1.0" encoding="utf-8"?>
<ds:datastoreItem xmlns:ds="http://schemas.openxmlformats.org/officeDocument/2006/customXml" ds:itemID="{5F93C807-924A-4040-A6A2-1A6C639B1055}">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592</Words>
  <Application>Microsoft Office PowerPoint</Application>
  <PresentationFormat>Benutzerdefiniert</PresentationFormat>
  <Paragraphs>263</Paragraphs>
  <Slides>16</Slides>
  <Notes>5</Notes>
  <HiddenSlides>2</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23" baseType="lpstr">
      <vt:lpstr>Arial</vt:lpstr>
      <vt:lpstr>Arial Unicode MS</vt:lpstr>
      <vt:lpstr>Siemens Sans</vt:lpstr>
      <vt:lpstr>Siemens Sans SC Black</vt:lpstr>
      <vt:lpstr>Wingdings</vt:lpstr>
      <vt:lpstr>blank</vt:lpstr>
      <vt:lpstr>Visio</vt:lpstr>
      <vt:lpstr> </vt:lpstr>
      <vt:lpstr>PowerPoint-Präsentation</vt:lpstr>
      <vt:lpstr>PowerPoint-Präsentation</vt:lpstr>
      <vt:lpstr>PowerPoint-Präsentation</vt:lpstr>
      <vt:lpstr> </vt:lpstr>
      <vt:lpstr>PowerPoint-Präsentation</vt:lpstr>
      <vt:lpstr>PowerPoint-Präsentation</vt:lpstr>
      <vt:lpstr>PowerPoint-Präsentation</vt:lpstr>
      <vt:lpstr> </vt:lpstr>
      <vt:lpstr>PowerPoint-Präsentation</vt:lpstr>
      <vt:lpstr> </vt:lpstr>
      <vt:lpstr> </vt:lpstr>
      <vt:lpstr> </vt:lpstr>
      <vt:lpstr> </vt:lpstr>
      <vt:lpstr> </vt:lpstr>
      <vt:lpstr> </vt:lpstr>
    </vt:vector>
  </TitlesOfParts>
  <Company>Siemens A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mullerku</dc:creator>
  <cp:keywords>C_Unrestricted</cp:keywords>
  <cp:lastModifiedBy>Müller, Kurt (SI BP S TSS ACD)</cp:lastModifiedBy>
  <cp:revision>9</cp:revision>
  <cp:lastPrinted>2019-08-14T07:25:41Z</cp:lastPrinted>
  <dcterms:created xsi:type="dcterms:W3CDTF">2015-06-16T08:40:55Z</dcterms:created>
  <dcterms:modified xsi:type="dcterms:W3CDTF">2021-11-25T20:41:57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March 2013</vt:lpwstr>
  </property>
  <property fmtid="{D5CDD505-2E9C-101B-9397-08002B2CF9AE}" pid="4" name="Office version">
    <vt:lpwstr>2007/2010</vt:lpwstr>
  </property>
  <property fmtid="{D5CDD505-2E9C-101B-9397-08002B2CF9AE}" pid="5" name="Release version">
    <vt:lpwstr>2.0.0</vt:lpwstr>
  </property>
  <property fmtid="{D5CDD505-2E9C-101B-9397-08002B2CF9AE}" pid="6" name="ArticulateGUID">
    <vt:lpwstr>06888F11-5E90-481D-8FD1-D75AB47D3761</vt:lpwstr>
  </property>
  <property fmtid="{D5CDD505-2E9C-101B-9397-08002B2CF9AE}" pid="7" name="ArticulatePath">
    <vt:lpwstr>3.02</vt:lpwstr>
  </property>
  <property fmtid="{D5CDD505-2E9C-101B-9397-08002B2CF9AE}" pid="8" name="ArticulateProjectVersion">
    <vt:lpwstr>7</vt:lpwstr>
  </property>
  <property fmtid="{D5CDD505-2E9C-101B-9397-08002B2CF9AE}" pid="9" name="ArticulateUseProject">
    <vt:lpwstr>1</vt:lpwstr>
  </property>
  <property fmtid="{D5CDD505-2E9C-101B-9397-08002B2CF9AE}" pid="10" name="ArticulateProjectFull">
    <vt:lpwstr>G:\19_e-Learning_Projects\40_Cerberus_PRO_UL\01_Virtual_Classroom\03_Script&amp;Design Voice\15\15.15.ppta</vt:lpwstr>
  </property>
  <property fmtid="{D5CDD505-2E9C-101B-9397-08002B2CF9AE}" pid="11" name="Document Confidentiality">
    <vt:lpwstr>Unrestricted</vt:lpwstr>
  </property>
  <property fmtid="{D5CDD505-2E9C-101B-9397-08002B2CF9AE}" pid="12" name="sodocoClasLang">
    <vt:lpwstr>Unrestricted</vt:lpwstr>
  </property>
  <property fmtid="{D5CDD505-2E9C-101B-9397-08002B2CF9AE}" pid="13" name="sodocoClasLangId">
    <vt:i4>0</vt:i4>
  </property>
  <property fmtid="{D5CDD505-2E9C-101B-9397-08002B2CF9AE}" pid="14" name="sodocoClasId">
    <vt:i4>0</vt:i4>
  </property>
  <property fmtid="{D5CDD505-2E9C-101B-9397-08002B2CF9AE}" pid="15" name="MSIP_Label_6f75f480-7803-4ee9-bb54-84d0635fdbe7_Enabled">
    <vt:lpwstr>true</vt:lpwstr>
  </property>
  <property fmtid="{D5CDD505-2E9C-101B-9397-08002B2CF9AE}" pid="16" name="MSIP_Label_6f75f480-7803-4ee9-bb54-84d0635fdbe7_SetDate">
    <vt:lpwstr>2021-11-12T18:51:24Z</vt:lpwstr>
  </property>
  <property fmtid="{D5CDD505-2E9C-101B-9397-08002B2CF9AE}" pid="17" name="MSIP_Label_6f75f480-7803-4ee9-bb54-84d0635fdbe7_Method">
    <vt:lpwstr>Standard</vt:lpwstr>
  </property>
  <property fmtid="{D5CDD505-2E9C-101B-9397-08002B2CF9AE}" pid="18" name="MSIP_Label_6f75f480-7803-4ee9-bb54-84d0635fdbe7_Name">
    <vt:lpwstr>unrestricted</vt:lpwstr>
  </property>
  <property fmtid="{D5CDD505-2E9C-101B-9397-08002B2CF9AE}" pid="19" name="MSIP_Label_6f75f480-7803-4ee9-bb54-84d0635fdbe7_SiteId">
    <vt:lpwstr>38ae3bcd-9579-4fd4-adda-b42e1495d55a</vt:lpwstr>
  </property>
  <property fmtid="{D5CDD505-2E9C-101B-9397-08002B2CF9AE}" pid="20" name="MSIP_Label_6f75f480-7803-4ee9-bb54-84d0635fdbe7_ActionId">
    <vt:lpwstr>36871616-267b-4bc1-b8b4-eef157d4b72d</vt:lpwstr>
  </property>
  <property fmtid="{D5CDD505-2E9C-101B-9397-08002B2CF9AE}" pid="21" name="MSIP_Label_6f75f480-7803-4ee9-bb54-84d0635fdbe7_ContentBits">
    <vt:lpwstr>0</vt:lpwstr>
  </property>
  <property fmtid="{D5CDD505-2E9C-101B-9397-08002B2CF9AE}" pid="22" name="Document_Confidentiality">
    <vt:lpwstr>Unrestricted</vt:lpwstr>
  </property>
</Properties>
</file>